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3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.xml" ContentType="application/vnd.openxmlformats-officedocument.presentationml.notesSlide+xml"/>
  <Override PartName="/ppt/tags/tag40.xml" ContentType="application/vnd.openxmlformats-officedocument.presentationml.tags+xml"/>
  <Override PartName="/ppt/notesSlides/notesSlide2.xml" ContentType="application/vnd.openxmlformats-officedocument.presentationml.notesSlide+xml"/>
  <Override PartName="/ppt/tags/tag4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9" r:id="rId5"/>
    <p:sldMasterId id="2147483660" r:id="rId6"/>
  </p:sldMasterIdLst>
  <p:notesMasterIdLst>
    <p:notesMasterId r:id="rId13"/>
  </p:notesMasterIdLst>
  <p:sldIdLst>
    <p:sldId id="260" r:id="rId7"/>
    <p:sldId id="272" r:id="rId8"/>
    <p:sldId id="275" r:id="rId9"/>
    <p:sldId id="256" r:id="rId10"/>
    <p:sldId id="257" r:id="rId11"/>
    <p:sldId id="258" r:id="rId12"/>
  </p:sldIdLst>
  <p:sldSz cx="9144000" cy="5143500" type="screen16x9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747775"/>
          </p15:clr>
        </p15:guide>
        <p15:guide id="2" pos="2880">
          <p15:clr>
            <a:srgbClr val="747775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D8E6C4D-CD03-4A94-8E7C-77E5E65600B5}" v="66" dt="2023-07-24T17:21:49.493"/>
    <p1510:client id="{71506221-7F14-9E07-0907-83CCE476C596}" v="2" dt="2023-07-26T12:12:43.68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1620"/>
        <p:guide pos="2880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1.xml"/><Relationship Id="rId15" Type="http://schemas.openxmlformats.org/officeDocument/2006/relationships/viewProps" Target="viewProps.xml"/><Relationship Id="rId10" Type="http://schemas.openxmlformats.org/officeDocument/2006/relationships/slide" Target="slides/slide4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CE37-8989-471A-BC57-D3CAAD03839D}" type="slidenum">
              <a:rPr kumimoji="0" lang="de-DE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645947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CE37-8989-471A-BC57-D3CAAD03839D}" type="slidenum">
              <a:rPr kumimoji="0" lang="de-DE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478236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F3CE37-8989-471A-BC57-D3CAAD03839D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52150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g1e507e33a7a_0_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g1e507e33a7a_0_3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1e507e33a7a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1e507e33a7a_0_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3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2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7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7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7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7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7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7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7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3056992" y="0"/>
            <a:ext cx="6087008" cy="51435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3" y="1299317"/>
            <a:ext cx="2715768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42977D0-16DF-4144-94E5-2041E15850FF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1818711"/>
            <a:ext cx="2715621" cy="1080000"/>
          </a:xfrm>
        </p:spPr>
        <p:txBody>
          <a:bodyPr anchor="t"/>
          <a:lstStyle>
            <a:lvl1pPr>
              <a:defRPr sz="24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3196613"/>
            <a:ext cx="2186924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26326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3085056" y="0"/>
            <a:ext cx="6060731" cy="51435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5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5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05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271199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3" y="1299317"/>
            <a:ext cx="2715768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3A98F38-41A6-4B28-9DC3-8AEBD3FF0B01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1818711"/>
            <a:ext cx="2715621" cy="1080000"/>
          </a:xfrm>
        </p:spPr>
        <p:txBody>
          <a:bodyPr anchor="t"/>
          <a:lstStyle>
            <a:lvl1pPr>
              <a:defRPr sz="2400" i="1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3196613"/>
            <a:ext cx="2186924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26326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3056992" y="0"/>
            <a:ext cx="6087008" cy="51435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3085056" y="0"/>
            <a:ext cx="6060731" cy="51435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5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5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05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071608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3056992" y="0"/>
            <a:ext cx="6087008" cy="51435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3" y="1299317"/>
            <a:ext cx="2715768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B52A258-6540-4627-9544-F9B90C510986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1818711"/>
            <a:ext cx="2715621" cy="1080000"/>
          </a:xfrm>
        </p:spPr>
        <p:txBody>
          <a:bodyPr anchor="t"/>
          <a:lstStyle>
            <a:lvl1pPr>
              <a:defRPr sz="24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3196613"/>
            <a:ext cx="2186924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26326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3085056" y="0"/>
            <a:ext cx="6060731" cy="51435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5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5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05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830467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482767" y="302655"/>
            <a:ext cx="7218941" cy="648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1504199" y="1382790"/>
            <a:ext cx="3510457" cy="3480773"/>
          </a:xfrm>
        </p:spPr>
        <p:txBody>
          <a:bodyPr/>
          <a:lstStyle>
            <a:lvl1pPr marL="202500" indent="-202500">
              <a:spcBef>
                <a:spcPts val="1350"/>
              </a:spcBef>
              <a:spcAft>
                <a:spcPts val="0"/>
              </a:spcAft>
              <a:buFontTx/>
              <a:buBlip>
                <a:blip r:embed="rId3"/>
              </a:buBlip>
              <a:defRPr sz="1500"/>
            </a:lvl1pPr>
            <a:lvl2pPr marL="405000" indent="-202500">
              <a:spcBef>
                <a:spcPts val="450"/>
              </a:spcBef>
              <a:spcAft>
                <a:spcPts val="0"/>
              </a:spcAft>
              <a:buFontTx/>
              <a:buBlip>
                <a:blip r:embed="rId4"/>
              </a:buBlip>
              <a:defRPr sz="1500"/>
            </a:lvl2pPr>
            <a:lvl3pPr marL="607500" indent="-202500">
              <a:spcBef>
                <a:spcPts val="450"/>
              </a:spcBef>
              <a:spcAft>
                <a:spcPts val="0"/>
              </a:spcAft>
              <a:buFontTx/>
              <a:buBlip>
                <a:blip r:embed="rId5"/>
              </a:buBlip>
              <a:defRPr sz="1500"/>
            </a:lvl3pPr>
            <a:lvl4pPr marL="810000" indent="-202500">
              <a:spcBef>
                <a:spcPts val="450"/>
              </a:spcBef>
              <a:spcAft>
                <a:spcPts val="0"/>
              </a:spcAft>
              <a:buFontTx/>
              <a:buBlip>
                <a:blip r:embed="rId6"/>
              </a:buBlip>
              <a:defRPr sz="1500"/>
            </a:lvl4pPr>
            <a:lvl5pPr>
              <a:spcBef>
                <a:spcPts val="450"/>
              </a:spcBef>
              <a:spcAft>
                <a:spcPts val="0"/>
              </a:spcAft>
              <a:defRPr sz="1500"/>
            </a:lvl5pPr>
            <a:lvl6pPr>
              <a:spcBef>
                <a:spcPts val="450"/>
              </a:spcBef>
              <a:spcAft>
                <a:spcPts val="0"/>
              </a:spcAft>
              <a:defRPr sz="1500"/>
            </a:lvl6pPr>
            <a:lvl7pPr>
              <a:spcBef>
                <a:spcPts val="450"/>
              </a:spcBef>
              <a:spcAft>
                <a:spcPts val="0"/>
              </a:spcAft>
              <a:defRPr sz="1500"/>
            </a:lvl7pPr>
            <a:lvl8pPr>
              <a:spcBef>
                <a:spcPts val="450"/>
              </a:spcBef>
              <a:spcAft>
                <a:spcPts val="0"/>
              </a:spcAft>
              <a:defRPr sz="1500"/>
            </a:lvl8pPr>
            <a:lvl9pPr>
              <a:spcBef>
                <a:spcPts val="450"/>
              </a:spcBef>
              <a:spcAft>
                <a:spcPts val="0"/>
              </a:spcAft>
              <a:defRPr sz="15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301A406-9538-49C3-8EE8-2A8828D36F07}" type="datetime1">
              <a:rPr lang="en-US" smtClean="0"/>
              <a:t>7/26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731100" y="4963450"/>
            <a:ext cx="4283556" cy="81000"/>
          </a:xfrm>
        </p:spPr>
        <p:txBody>
          <a:bodyPr/>
          <a:lstStyle/>
          <a:p>
            <a:r>
              <a:rPr lang="en-US"/>
              <a:t>/// Bayer 16:9 Template Chart Pool /// April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46901" y="4963450"/>
            <a:ext cx="294283" cy="81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26443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5853939" y="1"/>
            <a:ext cx="3290061" cy="51435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050"/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5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5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05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115014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1"/>
            <a:ext cx="1578637" cy="51458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05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A3A36A1-3991-4BA2-906C-7B25DC73D115}" type="datetime1">
              <a:rPr lang="en-US" smtClean="0"/>
              <a:t>7/26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5135241" y="2298641"/>
            <a:ext cx="3375439" cy="540000"/>
          </a:xfrm>
        </p:spPr>
        <p:txBody>
          <a:bodyPr anchor="t"/>
          <a:lstStyle>
            <a:lvl1pPr marL="0" indent="0" algn="l">
              <a:buNone/>
              <a:defRPr sz="1800" b="1">
                <a:solidFill>
                  <a:schemeClr val="accent1"/>
                </a:solidFill>
              </a:defRPr>
            </a:lvl1pPr>
            <a:lvl2pPr marL="0" indent="0" algn="l">
              <a:buNone/>
              <a:defRPr sz="1800" b="1">
                <a:solidFill>
                  <a:schemeClr val="accent1"/>
                </a:solidFill>
              </a:defRPr>
            </a:lvl2pPr>
            <a:lvl3pPr marL="0" indent="0" algn="l">
              <a:buNone/>
              <a:defRPr sz="1800" b="1">
                <a:solidFill>
                  <a:schemeClr val="accent1"/>
                </a:solidFill>
              </a:defRPr>
            </a:lvl3pPr>
            <a:lvl4pPr marL="0" indent="0" algn="l">
              <a:buNone/>
              <a:defRPr sz="1800" b="1">
                <a:solidFill>
                  <a:schemeClr val="accent1"/>
                </a:solidFill>
              </a:defRPr>
            </a:lvl4pPr>
            <a:lvl5pPr marL="0" indent="0" algn="l">
              <a:buNone/>
              <a:defRPr sz="1800" b="1">
                <a:solidFill>
                  <a:schemeClr val="accent1"/>
                </a:solidFill>
              </a:defRPr>
            </a:lvl5pPr>
            <a:lvl6pPr marL="0" indent="0" algn="l">
              <a:buNone/>
              <a:defRPr sz="1800" b="1">
                <a:solidFill>
                  <a:schemeClr val="accent1"/>
                </a:solidFill>
              </a:defRPr>
            </a:lvl6pPr>
            <a:lvl7pPr marL="0" indent="0" algn="l">
              <a:buNone/>
              <a:defRPr sz="1800" b="1">
                <a:solidFill>
                  <a:schemeClr val="accent1"/>
                </a:solidFill>
              </a:defRPr>
            </a:lvl7pPr>
            <a:lvl8pPr marL="0" indent="0" algn="l">
              <a:buNone/>
              <a:defRPr sz="1800" b="1">
                <a:solidFill>
                  <a:schemeClr val="accent1"/>
                </a:solidFill>
              </a:defRPr>
            </a:lvl8pPr>
            <a:lvl9pPr marL="0" indent="0" algn="l">
              <a:buNone/>
              <a:defRPr sz="18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357639" y="1105427"/>
            <a:ext cx="3105404" cy="1080565"/>
          </a:xfrm>
        </p:spPr>
        <p:txBody>
          <a:bodyPr anchor="b"/>
          <a:lstStyle>
            <a:lvl1pPr algn="r">
              <a:defRPr sz="36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3533043" y="1"/>
            <a:ext cx="1945386" cy="51435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8294" y="463274"/>
            <a:ext cx="296475" cy="296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824395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4305505" y="0"/>
            <a:ext cx="4838495" cy="51435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050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050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0"/>
            <a:ext cx="1578637" cy="5145286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05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5009443" y="2242000"/>
            <a:ext cx="3375439" cy="1080565"/>
          </a:xfrm>
        </p:spPr>
        <p:txBody>
          <a:bodyPr anchor="t"/>
          <a:lstStyle>
            <a:lvl1pPr algn="l">
              <a:defRPr sz="36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170E633-6266-4EC2-8D09-5756E516ACDD}" type="datetime1">
              <a:rPr lang="en-US" smtClean="0"/>
              <a:t>7/26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426828" y="1600988"/>
            <a:ext cx="3375439" cy="540000"/>
          </a:xfrm>
        </p:spPr>
        <p:txBody>
          <a:bodyPr anchor="b"/>
          <a:lstStyle>
            <a:lvl1pPr marL="0" indent="0" algn="r">
              <a:buNone/>
              <a:defRPr sz="1800" b="1">
                <a:solidFill>
                  <a:schemeClr val="accent1"/>
                </a:solidFill>
              </a:defRPr>
            </a:lvl1pPr>
            <a:lvl2pPr marL="0" indent="0" algn="l">
              <a:buNone/>
              <a:defRPr sz="1800" b="1">
                <a:solidFill>
                  <a:schemeClr val="accent1"/>
                </a:solidFill>
              </a:defRPr>
            </a:lvl2pPr>
            <a:lvl3pPr marL="0" indent="0" algn="l">
              <a:buNone/>
              <a:defRPr sz="1800" b="1">
                <a:solidFill>
                  <a:schemeClr val="accent1"/>
                </a:solidFill>
              </a:defRPr>
            </a:lvl3pPr>
            <a:lvl4pPr marL="0" indent="0" algn="l">
              <a:buNone/>
              <a:defRPr sz="1800" b="1">
                <a:solidFill>
                  <a:schemeClr val="accent1"/>
                </a:solidFill>
              </a:defRPr>
            </a:lvl4pPr>
            <a:lvl5pPr marL="0" indent="0" algn="l">
              <a:buNone/>
              <a:defRPr sz="1800" b="1">
                <a:solidFill>
                  <a:schemeClr val="accent1"/>
                </a:solidFill>
              </a:defRPr>
            </a:lvl5pPr>
            <a:lvl6pPr marL="0" indent="0" algn="l">
              <a:buNone/>
              <a:defRPr sz="1800" b="1">
                <a:solidFill>
                  <a:schemeClr val="accent1"/>
                </a:solidFill>
              </a:defRPr>
            </a:lvl6pPr>
            <a:lvl7pPr marL="0" indent="0" algn="l">
              <a:buNone/>
              <a:defRPr sz="1800" b="1">
                <a:solidFill>
                  <a:schemeClr val="accent1"/>
                </a:solidFill>
              </a:defRPr>
            </a:lvl7pPr>
            <a:lvl8pPr marL="0" indent="0" algn="l">
              <a:buNone/>
              <a:defRPr sz="1800" b="1">
                <a:solidFill>
                  <a:schemeClr val="accent1"/>
                </a:solidFill>
              </a:defRPr>
            </a:lvl8pPr>
            <a:lvl9pPr marL="0" indent="0" algn="l">
              <a:buNone/>
              <a:defRPr sz="18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8294" y="463274"/>
            <a:ext cx="296475" cy="296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874016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0"/>
            <a:ext cx="1578637" cy="5145286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05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3641232" y="1096619"/>
            <a:ext cx="3375439" cy="1080565"/>
          </a:xfrm>
        </p:spPr>
        <p:txBody>
          <a:bodyPr anchor="b"/>
          <a:lstStyle>
            <a:lvl1pPr algn="l">
              <a:defRPr sz="36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C2FDB11-8E61-4546-A516-DC5DB23A5BAC}" type="datetime1">
              <a:rPr lang="en-US" smtClean="0"/>
              <a:t>7/26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5292450" y="2298641"/>
            <a:ext cx="3375439" cy="540000"/>
          </a:xfrm>
        </p:spPr>
        <p:txBody>
          <a:bodyPr anchor="t"/>
          <a:lstStyle>
            <a:lvl1pPr marL="0" indent="0" algn="l">
              <a:buNone/>
              <a:defRPr sz="1800" b="1">
                <a:solidFill>
                  <a:schemeClr val="accent3"/>
                </a:solidFill>
              </a:defRPr>
            </a:lvl1pPr>
            <a:lvl2pPr marL="0" indent="0" algn="l">
              <a:buNone/>
              <a:defRPr sz="1800" b="1">
                <a:solidFill>
                  <a:schemeClr val="accent3"/>
                </a:solidFill>
              </a:defRPr>
            </a:lvl2pPr>
            <a:lvl3pPr marL="0" indent="0" algn="l">
              <a:buNone/>
              <a:defRPr sz="1800" b="1">
                <a:solidFill>
                  <a:schemeClr val="accent3"/>
                </a:solidFill>
              </a:defRPr>
            </a:lvl3pPr>
            <a:lvl4pPr marL="0" indent="0" algn="l">
              <a:buNone/>
              <a:defRPr sz="1800" b="1">
                <a:solidFill>
                  <a:schemeClr val="accent3"/>
                </a:solidFill>
              </a:defRPr>
            </a:lvl4pPr>
            <a:lvl5pPr marL="0" indent="0" algn="l">
              <a:buNone/>
              <a:defRPr sz="1800" b="1">
                <a:solidFill>
                  <a:schemeClr val="accent3"/>
                </a:solidFill>
              </a:defRPr>
            </a:lvl5pPr>
            <a:lvl6pPr marL="0" indent="0" algn="l">
              <a:buNone/>
              <a:defRPr sz="1800" b="1">
                <a:solidFill>
                  <a:schemeClr val="accent3"/>
                </a:solidFill>
              </a:defRPr>
            </a:lvl6pPr>
            <a:lvl7pPr marL="0" indent="0" algn="l">
              <a:buNone/>
              <a:defRPr sz="1800" b="1">
                <a:solidFill>
                  <a:schemeClr val="accent3"/>
                </a:solidFill>
              </a:defRPr>
            </a:lvl7pPr>
            <a:lvl8pPr marL="0" indent="0" algn="l">
              <a:buNone/>
              <a:defRPr sz="1800" b="1">
                <a:solidFill>
                  <a:schemeClr val="accent3"/>
                </a:solidFill>
              </a:defRPr>
            </a:lvl8pPr>
            <a:lvl9pPr marL="0" indent="0" algn="l">
              <a:buNone/>
              <a:defRPr sz="18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569780" y="1"/>
            <a:ext cx="3112042" cy="51435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/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8294" y="463274"/>
            <a:ext cx="296475" cy="296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012539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1" y="853724"/>
            <a:ext cx="8099900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BF5C721-1D40-4EA4-99E1-FA58D5764188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7097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736461" y="1299564"/>
            <a:ext cx="8099900" cy="356399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292761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1" y="853724"/>
            <a:ext cx="8099900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7AB03B9-A374-4410-821D-6068806042C4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7097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736461" y="1299563"/>
            <a:ext cx="3915510" cy="3564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4920343" y="1299563"/>
            <a:ext cx="3915510" cy="3564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748937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7" pos="742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1" y="853724"/>
            <a:ext cx="8099900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4043034-6790-4149-B64E-CAC485301312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736461" y="2919562"/>
            <a:ext cx="3915510" cy="1944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4920430" y="2919562"/>
            <a:ext cx="3915510" cy="1944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736461" y="1299563"/>
            <a:ext cx="3915510" cy="135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4920430" y="1299563"/>
            <a:ext cx="3915510" cy="135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7097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534290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1" y="853724"/>
            <a:ext cx="8099900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36462" y="136454"/>
            <a:ext cx="8099899" cy="648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B4C7129-0516-4D39-95C4-C17CDDE84E06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7097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573941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2" orient="horz" pos="2478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735307" y="789385"/>
            <a:ext cx="8101054" cy="4074178"/>
          </a:xfrm>
        </p:spPr>
        <p:txBody>
          <a:bodyPr bIns="0" anchor="ctr"/>
          <a:lstStyle>
            <a:lvl1pPr marL="0" indent="0" algn="l">
              <a:buNone/>
              <a:defRPr sz="4950">
                <a:solidFill>
                  <a:schemeClr val="tx2"/>
                </a:solidFill>
              </a:defRPr>
            </a:lvl1pPr>
            <a:lvl2pPr marL="0" indent="0" algn="l">
              <a:buNone/>
              <a:defRPr sz="4950">
                <a:solidFill>
                  <a:schemeClr val="tx2"/>
                </a:solidFill>
              </a:defRPr>
            </a:lvl2pPr>
            <a:lvl3pPr marL="0" indent="0" algn="l">
              <a:buNone/>
              <a:defRPr sz="4950">
                <a:solidFill>
                  <a:schemeClr val="tx2"/>
                </a:solidFill>
              </a:defRPr>
            </a:lvl3pPr>
            <a:lvl4pPr marL="0" indent="0" algn="l">
              <a:buNone/>
              <a:defRPr sz="4950">
                <a:solidFill>
                  <a:schemeClr val="tx2"/>
                </a:solidFill>
              </a:defRPr>
            </a:lvl4pPr>
            <a:lvl5pPr marL="0" indent="0" algn="l">
              <a:buNone/>
              <a:defRPr sz="4950">
                <a:solidFill>
                  <a:schemeClr val="tx2"/>
                </a:solidFill>
              </a:defRPr>
            </a:lvl5pPr>
            <a:lvl6pPr marL="0" indent="0" algn="l">
              <a:buNone/>
              <a:defRPr sz="4950">
                <a:solidFill>
                  <a:schemeClr val="tx2"/>
                </a:solidFill>
              </a:defRPr>
            </a:lvl6pPr>
            <a:lvl7pPr marL="0" indent="0" algn="l">
              <a:buNone/>
              <a:defRPr sz="4950">
                <a:solidFill>
                  <a:schemeClr val="tx2"/>
                </a:solidFill>
              </a:defRPr>
            </a:lvl7pPr>
            <a:lvl8pPr marL="0" indent="0" algn="l">
              <a:buNone/>
              <a:defRPr sz="4950">
                <a:solidFill>
                  <a:schemeClr val="tx2"/>
                </a:solidFill>
              </a:defRPr>
            </a:lvl8pPr>
            <a:lvl9pPr marL="0" indent="0" algn="l">
              <a:buNone/>
              <a:defRPr sz="495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5FBE98F-E63C-4783-8C87-99B2C299DBA3}" type="datetime1">
              <a:rPr lang="en-US" smtClean="0"/>
              <a:t>7/26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Chart Pool /// April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7097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513360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E0E154D-2B30-4414-AF1B-5CD5450EFC82}" type="datetime1">
              <a:rPr lang="en-US" smtClean="0"/>
              <a:t>7/26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9144000" cy="51435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2958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6149396" cy="5157788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531683" y="1299317"/>
            <a:ext cx="4036649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18BD629-475B-4A14-8CFE-14BC309F29F6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531683" y="1818711"/>
            <a:ext cx="4036649" cy="1215000"/>
          </a:xfrm>
        </p:spPr>
        <p:txBody>
          <a:bodyPr anchor="t"/>
          <a:lstStyle>
            <a:lvl1pPr>
              <a:defRPr sz="405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060937" y="3196613"/>
            <a:ext cx="2700351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4572537" y="0"/>
            <a:ext cx="4571464" cy="51435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26326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3834000" y="0"/>
            <a:ext cx="2204435" cy="5157788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05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5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5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05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992927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6149396" cy="5157788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531685" y="1299568"/>
            <a:ext cx="4036647" cy="444463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AD6DD47-4A00-4A0F-A6B2-3C9A3CDDF41B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531684" y="1818711"/>
            <a:ext cx="4036649" cy="1215000"/>
          </a:xfrm>
        </p:spPr>
        <p:txBody>
          <a:bodyPr anchor="t"/>
          <a:lstStyle>
            <a:lvl1pPr>
              <a:defRPr sz="4050" i="1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060937" y="3196613"/>
            <a:ext cx="2700351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4572537" y="0"/>
            <a:ext cx="4571464" cy="51435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26326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3834000" y="0"/>
            <a:ext cx="2204435" cy="5157788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05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5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5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05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181077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6149396" cy="5157788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531684" y="1299568"/>
            <a:ext cx="4036647" cy="444463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C25E27A-E251-409E-B8F5-E4A5B299A3B1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531684" y="1818711"/>
            <a:ext cx="4036649" cy="1215000"/>
          </a:xfrm>
        </p:spPr>
        <p:txBody>
          <a:bodyPr anchor="t"/>
          <a:lstStyle>
            <a:lvl1pPr>
              <a:defRPr sz="405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060937" y="3196613"/>
            <a:ext cx="2700351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4572537" y="0"/>
            <a:ext cx="4571464" cy="51435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26326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3834000" y="0"/>
            <a:ext cx="2204435" cy="5157788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05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5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5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05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184123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3" y="1299317"/>
            <a:ext cx="2715768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7BB9952-2023-48DD-9D3E-028666D3F810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1818711"/>
            <a:ext cx="2715621" cy="1080000"/>
          </a:xfrm>
        </p:spPr>
        <p:txBody>
          <a:bodyPr anchor="t"/>
          <a:lstStyle>
            <a:lvl1pPr>
              <a:defRPr sz="24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3196613"/>
            <a:ext cx="2186924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3058779" y="0"/>
            <a:ext cx="6087007" cy="51435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487059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3" y="1299317"/>
            <a:ext cx="2715768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62231CC-09F4-4A5E-9284-A5449C2667B2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1818711"/>
            <a:ext cx="2715621" cy="1080000"/>
          </a:xfrm>
        </p:spPr>
        <p:txBody>
          <a:bodyPr anchor="t"/>
          <a:lstStyle>
            <a:lvl1pPr>
              <a:defRPr sz="24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3196613"/>
            <a:ext cx="2186924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3058780" y="0"/>
            <a:ext cx="6087008" cy="51435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4"/>
              <a:gd name="connsiteY0" fmla="*/ 0 h 6858000"/>
              <a:gd name="connsiteX1" fmla="*/ 8112573 w 8114954"/>
              <a:gd name="connsiteY1" fmla="*/ 0 h 6858000"/>
              <a:gd name="connsiteX2" fmla="*/ 8114954 w 8114954"/>
              <a:gd name="connsiteY2" fmla="*/ 6003672 h 6858000"/>
              <a:gd name="connsiteX3" fmla="*/ 3275459 w 8114954"/>
              <a:gd name="connsiteY3" fmla="*/ 6858000 h 6858000"/>
              <a:gd name="connsiteX4" fmla="*/ 0 w 8114954"/>
              <a:gd name="connsiteY4" fmla="*/ 6858000 h 6858000"/>
              <a:gd name="connsiteX5" fmla="*/ 1341581 w 811495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4" y="4090554"/>
                  <a:pt x="8114954" y="600367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45528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3" y="1299317"/>
            <a:ext cx="2715768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535B2DB-6070-4A8E-9B9A-582DA9C6F93A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1818711"/>
            <a:ext cx="2715621" cy="1080000"/>
          </a:xfrm>
        </p:spPr>
        <p:txBody>
          <a:bodyPr anchor="t"/>
          <a:lstStyle>
            <a:lvl1pPr>
              <a:defRPr sz="2400" i="1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3196613"/>
            <a:ext cx="2186924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3058779" y="0"/>
            <a:ext cx="6085222" cy="51435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6001292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257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2572" y="4088174"/>
                  <a:pt x="8112572" y="600129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646321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(3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0682F5-D540-4F7E-A44F-370516830E3A}"/>
              </a:ext>
            </a:extLst>
          </p:cNvPr>
          <p:cNvSpPr/>
          <p:nvPr userDrawn="1"/>
        </p:nvSpPr>
        <p:spPr bwMode="gray">
          <a:xfrm>
            <a:off x="3056992" y="0"/>
            <a:ext cx="6087008" cy="51435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3" y="1299317"/>
            <a:ext cx="2715768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BC65189-201A-44F7-BCB3-0313BF313DD6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1818711"/>
            <a:ext cx="2715621" cy="1080000"/>
          </a:xfrm>
        </p:spPr>
        <p:txBody>
          <a:bodyPr anchor="t"/>
          <a:lstStyle>
            <a:lvl1pPr>
              <a:defRPr sz="24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3196613"/>
            <a:ext cx="2186924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26326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05FA33A-AA9A-408D-825F-3DD716E743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3085055" y="0"/>
            <a:ext cx="2988919" cy="5143500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0D031B8-1221-4B6F-92FB-4684EFA4710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5105077" y="0"/>
            <a:ext cx="2996894" cy="5143500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7" name="Picture Placeholder 56">
            <a:extLst>
              <a:ext uri="{FF2B5EF4-FFF2-40B4-BE49-F238E27FC236}">
                <a16:creationId xmlns:a16="http://schemas.microsoft.com/office/drawing/2014/main" id="{FCA7AC5F-6522-4DEE-BA7A-D67ED03A7E2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7190166" y="0"/>
            <a:ext cx="1955620" cy="484794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</a:t>
            </a:r>
            <a:br>
              <a:rPr lang="en-US"/>
            </a:br>
            <a:r>
              <a:rPr lang="en-US"/>
              <a:t>add picture</a:t>
            </a:r>
            <a:endParaRPr lang="de-DE"/>
          </a:p>
        </p:txBody>
      </p:sp>
      <p:sp>
        <p:nvSpPr>
          <p:cNvPr id="7" name="MIO_VALID_LAYOUT" hidden="1">
            <a:extLst>
              <a:ext uri="{FF2B5EF4-FFF2-40B4-BE49-F238E27FC236}">
                <a16:creationId xmlns:a16="http://schemas.microsoft.com/office/drawing/2014/main" id="{1D22FA5E-0BC7-4401-A5BD-77730EA9E1A3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7" name="Logoschutz" hidden="1">
            <a:extLst>
              <a:ext uri="{FF2B5EF4-FFF2-40B4-BE49-F238E27FC236}">
                <a16:creationId xmlns:a16="http://schemas.microsoft.com/office/drawing/2014/main" id="{4023B47B-B6DF-4539-AC89-0228A14ED20B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5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5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05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711648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2 (3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3" y="1299317"/>
            <a:ext cx="2715768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22D0D5F-E68E-4386-9391-BE6E7B6BEAA2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1818711"/>
            <a:ext cx="2715621" cy="1080000"/>
          </a:xfrm>
        </p:spPr>
        <p:txBody>
          <a:bodyPr anchor="t"/>
          <a:lstStyle>
            <a:lvl1pPr>
              <a:defRPr sz="2400" i="1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3196613"/>
            <a:ext cx="2186924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26326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3BEC00A-2D48-4013-B391-8772109AC8D8}"/>
              </a:ext>
            </a:extLst>
          </p:cNvPr>
          <p:cNvSpPr/>
          <p:nvPr userDrawn="1"/>
        </p:nvSpPr>
        <p:spPr bwMode="gray">
          <a:xfrm>
            <a:off x="3056992" y="0"/>
            <a:ext cx="6087008" cy="51435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D2C6F70-E75D-475F-B419-269CCB1A79F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3085055" y="0"/>
            <a:ext cx="2988919" cy="5143500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9BAE79B-A563-4FC7-B9F7-A23D4B7F095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5105077" y="0"/>
            <a:ext cx="2996894" cy="5143500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0" name="Picture Placeholder 56">
            <a:extLst>
              <a:ext uri="{FF2B5EF4-FFF2-40B4-BE49-F238E27FC236}">
                <a16:creationId xmlns:a16="http://schemas.microsoft.com/office/drawing/2014/main" id="{F2288D79-07BA-4239-B9FD-72BB7BF32D5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7190166" y="0"/>
            <a:ext cx="1955620" cy="484794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</a:t>
            </a:r>
            <a:br>
              <a:rPr lang="en-US"/>
            </a:br>
            <a:r>
              <a:rPr lang="en-US"/>
              <a:t>add picture</a:t>
            </a:r>
            <a:endParaRPr lang="de-DE"/>
          </a:p>
        </p:txBody>
      </p:sp>
      <p:sp>
        <p:nvSpPr>
          <p:cNvPr id="14" name="MIO_VALID_LAYOUT" hidden="1">
            <a:extLst>
              <a:ext uri="{FF2B5EF4-FFF2-40B4-BE49-F238E27FC236}">
                <a16:creationId xmlns:a16="http://schemas.microsoft.com/office/drawing/2014/main" id="{A56B1E33-75AC-4D5C-833A-CA5C8008C847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7" name="Logoschutz" hidden="1">
            <a:extLst>
              <a:ext uri="{FF2B5EF4-FFF2-40B4-BE49-F238E27FC236}">
                <a16:creationId xmlns:a16="http://schemas.microsoft.com/office/drawing/2014/main" id="{AFC5990D-0BBE-4F16-8156-3BC1019B8FD3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5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5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05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780009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3 (2)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3" y="1299317"/>
            <a:ext cx="2715768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1BEFA09-75EF-416E-893D-A21894B40024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1818711"/>
            <a:ext cx="2715621" cy="1080000"/>
          </a:xfrm>
        </p:spPr>
        <p:txBody>
          <a:bodyPr anchor="t"/>
          <a:lstStyle>
            <a:lvl1pPr>
              <a:defRPr sz="24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3196613"/>
            <a:ext cx="2186924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26326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4A0C1F59-2627-48DB-B813-67C0C96836A6}"/>
              </a:ext>
            </a:extLst>
          </p:cNvPr>
          <p:cNvSpPr/>
          <p:nvPr userDrawn="1"/>
        </p:nvSpPr>
        <p:spPr bwMode="gray">
          <a:xfrm>
            <a:off x="3056992" y="0"/>
            <a:ext cx="6087008" cy="51435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78D98E1-86F9-4336-BA66-00637C7D39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3085056" y="0"/>
            <a:ext cx="3990048" cy="5143500"/>
          </a:xfrm>
          <a:custGeom>
            <a:avLst/>
            <a:gdLst>
              <a:gd name="connsiteX0" fmla="*/ 1331361 w 5319371"/>
              <a:gd name="connsiteY0" fmla="*/ 0 h 6858000"/>
              <a:gd name="connsiteX1" fmla="*/ 5319371 w 5319371"/>
              <a:gd name="connsiteY1" fmla="*/ 0 h 6858000"/>
              <a:gd name="connsiteX2" fmla="*/ 4021306 w 5319371"/>
              <a:gd name="connsiteY2" fmla="*/ 6720150 h 6858000"/>
              <a:gd name="connsiteX3" fmla="*/ 3240429 w 5319371"/>
              <a:gd name="connsiteY3" fmla="*/ 6858000 h 6858000"/>
              <a:gd name="connsiteX4" fmla="*/ 0 w 531937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9371" h="6858000">
                <a:moveTo>
                  <a:pt x="1331361" y="0"/>
                </a:moveTo>
                <a:lnTo>
                  <a:pt x="5319371" y="0"/>
                </a:lnTo>
                <a:lnTo>
                  <a:pt x="4021306" y="6720150"/>
                </a:ln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161357F-2910-4222-B505-2D7DEB797B5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6127054" y="1"/>
            <a:ext cx="3018732" cy="5035589"/>
          </a:xfrm>
          <a:custGeom>
            <a:avLst/>
            <a:gdLst>
              <a:gd name="connsiteX0" fmla="*/ 1296899 w 4024452"/>
              <a:gd name="connsiteY0" fmla="*/ 0 h 6714119"/>
              <a:gd name="connsiteX1" fmla="*/ 4022072 w 4024452"/>
              <a:gd name="connsiteY1" fmla="*/ 0 h 6714119"/>
              <a:gd name="connsiteX2" fmla="*/ 4024452 w 4024452"/>
              <a:gd name="connsiteY2" fmla="*/ 6003673 h 6714119"/>
              <a:gd name="connsiteX3" fmla="*/ 0 w 4024452"/>
              <a:gd name="connsiteY3" fmla="*/ 6714119 h 6714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24452" h="6714119">
                <a:moveTo>
                  <a:pt x="1296899" y="0"/>
                </a:moveTo>
                <a:lnTo>
                  <a:pt x="4022072" y="0"/>
                </a:lnTo>
                <a:cubicBezTo>
                  <a:pt x="4022072" y="1913118"/>
                  <a:pt x="4024452" y="4090555"/>
                  <a:pt x="4024452" y="6003673"/>
                </a:cubicBezTo>
                <a:lnTo>
                  <a:pt x="0" y="6714119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05CFF861-772E-4656-ABE4-7D87D4F4C674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5" name="Logoschutz" hidden="1">
            <a:extLst>
              <a:ext uri="{FF2B5EF4-FFF2-40B4-BE49-F238E27FC236}">
                <a16:creationId xmlns:a16="http://schemas.microsoft.com/office/drawing/2014/main" id="{2084BB78-79FB-4CB4-A04F-33335C5A37FC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5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5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05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464735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2 (2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3" y="1299317"/>
            <a:ext cx="2715768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71F5A9E-DAA4-421B-B2E3-9A6B95EF023C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1818711"/>
            <a:ext cx="2715621" cy="1080000"/>
          </a:xfrm>
        </p:spPr>
        <p:txBody>
          <a:bodyPr anchor="t"/>
          <a:lstStyle>
            <a:lvl1pPr>
              <a:defRPr sz="2400" i="1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3196613"/>
            <a:ext cx="2186924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26326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272248F4-D57F-4E6B-A274-F3F5D798CFE4}"/>
              </a:ext>
            </a:extLst>
          </p:cNvPr>
          <p:cNvSpPr/>
          <p:nvPr userDrawn="1"/>
        </p:nvSpPr>
        <p:spPr bwMode="gray">
          <a:xfrm>
            <a:off x="3056992" y="0"/>
            <a:ext cx="6087008" cy="51435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079C2DF-F453-4691-84F9-7E45AA5EB11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3085056" y="0"/>
            <a:ext cx="3990048" cy="5143500"/>
          </a:xfrm>
          <a:custGeom>
            <a:avLst/>
            <a:gdLst>
              <a:gd name="connsiteX0" fmla="*/ 1331361 w 5319371"/>
              <a:gd name="connsiteY0" fmla="*/ 0 h 6858000"/>
              <a:gd name="connsiteX1" fmla="*/ 5319371 w 5319371"/>
              <a:gd name="connsiteY1" fmla="*/ 0 h 6858000"/>
              <a:gd name="connsiteX2" fmla="*/ 4021306 w 5319371"/>
              <a:gd name="connsiteY2" fmla="*/ 6720150 h 6858000"/>
              <a:gd name="connsiteX3" fmla="*/ 3240429 w 5319371"/>
              <a:gd name="connsiteY3" fmla="*/ 6858000 h 6858000"/>
              <a:gd name="connsiteX4" fmla="*/ 0 w 531937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9371" h="6858000">
                <a:moveTo>
                  <a:pt x="1331361" y="0"/>
                </a:moveTo>
                <a:lnTo>
                  <a:pt x="5319371" y="0"/>
                </a:lnTo>
                <a:lnTo>
                  <a:pt x="4021306" y="6720150"/>
                </a:ln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2293B0D-E408-4808-A94C-A6610765504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6127054" y="1"/>
            <a:ext cx="3018732" cy="5035589"/>
          </a:xfrm>
          <a:custGeom>
            <a:avLst/>
            <a:gdLst>
              <a:gd name="connsiteX0" fmla="*/ 1296899 w 4024452"/>
              <a:gd name="connsiteY0" fmla="*/ 0 h 6714119"/>
              <a:gd name="connsiteX1" fmla="*/ 4022072 w 4024452"/>
              <a:gd name="connsiteY1" fmla="*/ 0 h 6714119"/>
              <a:gd name="connsiteX2" fmla="*/ 4024452 w 4024452"/>
              <a:gd name="connsiteY2" fmla="*/ 6003673 h 6714119"/>
              <a:gd name="connsiteX3" fmla="*/ 0 w 4024452"/>
              <a:gd name="connsiteY3" fmla="*/ 6714119 h 6714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24452" h="6714119">
                <a:moveTo>
                  <a:pt x="1296899" y="0"/>
                </a:moveTo>
                <a:lnTo>
                  <a:pt x="4022072" y="0"/>
                </a:lnTo>
                <a:cubicBezTo>
                  <a:pt x="4022072" y="1913118"/>
                  <a:pt x="4024452" y="4090555"/>
                  <a:pt x="4024452" y="6003673"/>
                </a:cubicBezTo>
                <a:lnTo>
                  <a:pt x="0" y="6714119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045F628E-EF81-4C30-95D7-14E0BE347581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5" name="Logoschutz" hidden="1">
            <a:extLst>
              <a:ext uri="{FF2B5EF4-FFF2-40B4-BE49-F238E27FC236}">
                <a16:creationId xmlns:a16="http://schemas.microsoft.com/office/drawing/2014/main" id="{F203CA6A-2D43-41D0-ADBB-9AA558993DE8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5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5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05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35401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2" y="853724"/>
            <a:ext cx="8099391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48D464B-D1EB-4A95-8C60-233B632C71BC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7097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 bwMode="gray">
          <a:xfrm>
            <a:off x="735307" y="1299563"/>
            <a:ext cx="1821894" cy="356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/>
          </p:nvPr>
        </p:nvSpPr>
        <p:spPr bwMode="gray">
          <a:xfrm>
            <a:off x="2828921" y="1299563"/>
            <a:ext cx="1821894" cy="356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0"/>
          </p:nvPr>
        </p:nvSpPr>
        <p:spPr bwMode="gray">
          <a:xfrm>
            <a:off x="4920343" y="1299563"/>
            <a:ext cx="1821894" cy="356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1"/>
          </p:nvPr>
        </p:nvSpPr>
        <p:spPr bwMode="gray">
          <a:xfrm>
            <a:off x="7013958" y="1299563"/>
            <a:ext cx="1821894" cy="356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MIO_VALID_LAYOUT" hidden="1">
            <a:extLst>
              <a:ext uri="{FF2B5EF4-FFF2-40B4-BE49-F238E27FC236}">
                <a16:creationId xmlns:a16="http://schemas.microsoft.com/office/drawing/2014/main" id="{F26E9729-F374-4B5D-8047-8A94FAAA4D9E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71190850-47C5-428A-AD0A-397C8DBD0D1B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911999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B78022B-A793-432D-B64B-C56400C5EC82}" type="datetime1">
              <a:rPr lang="en-US" smtClean="0"/>
              <a:t>7/26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0BEF0AA-7D26-4E86-A503-22CEF564FF5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9144000" cy="5143500"/>
          </a:xfrm>
          <a:custGeom>
            <a:avLst/>
            <a:gdLst>
              <a:gd name="connsiteX0" fmla="*/ 0 w 12190413"/>
              <a:gd name="connsiteY0" fmla="*/ 0 h 6858000"/>
              <a:gd name="connsiteX1" fmla="*/ 12190413 w 12190413"/>
              <a:gd name="connsiteY1" fmla="*/ 0 h 6858000"/>
              <a:gd name="connsiteX2" fmla="*/ 12190413 w 12190413"/>
              <a:gd name="connsiteY2" fmla="*/ 6005394 h 6858000"/>
              <a:gd name="connsiteX3" fmla="*/ 9456590 w 12190413"/>
              <a:gd name="connsiteY3" fmla="*/ 6488001 h 6858000"/>
              <a:gd name="connsiteX4" fmla="*/ 9456596 w 12190413"/>
              <a:gd name="connsiteY4" fmla="*/ 6487972 h 6858000"/>
              <a:gd name="connsiteX5" fmla="*/ 7360505 w 12190413"/>
              <a:gd name="connsiteY5" fmla="*/ 6858000 h 6858000"/>
              <a:gd name="connsiteX6" fmla="*/ 0 w 1219041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0413" h="6858000">
                <a:moveTo>
                  <a:pt x="0" y="0"/>
                </a:moveTo>
                <a:lnTo>
                  <a:pt x="12190413" y="0"/>
                </a:lnTo>
                <a:lnTo>
                  <a:pt x="12190413" y="6005394"/>
                </a:lnTo>
                <a:lnTo>
                  <a:pt x="9456590" y="6488001"/>
                </a:lnTo>
                <a:lnTo>
                  <a:pt x="9456596" y="6487972"/>
                </a:lnTo>
                <a:lnTo>
                  <a:pt x="736050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MIO_VALID_LAYOUT" hidden="1">
            <a:extLst>
              <a:ext uri="{FF2B5EF4-FFF2-40B4-BE49-F238E27FC236}">
                <a16:creationId xmlns:a16="http://schemas.microsoft.com/office/drawing/2014/main" id="{FDD58F13-0397-4FD2-AEEE-447FEC7AAC1E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</p:spTree>
    <p:extLst>
      <p:ext uri="{BB962C8B-B14F-4D97-AF65-F5344CB8AC3E}">
        <p14:creationId xmlns:p14="http://schemas.microsoft.com/office/powerpoint/2010/main" val="1690323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color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C8A6F49-47B4-4005-8DA4-7A83A5C93204}" type="datetime1">
              <a:rPr lang="en-US" smtClean="0"/>
              <a:t>7/26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0BEF0AA-7D26-4E86-A503-22CEF564FF5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9144000" cy="5143500"/>
          </a:xfrm>
          <a:custGeom>
            <a:avLst/>
            <a:gdLst>
              <a:gd name="connsiteX0" fmla="*/ 0 w 12190413"/>
              <a:gd name="connsiteY0" fmla="*/ 0 h 6858000"/>
              <a:gd name="connsiteX1" fmla="*/ 12190413 w 12190413"/>
              <a:gd name="connsiteY1" fmla="*/ 0 h 6858000"/>
              <a:gd name="connsiteX2" fmla="*/ 12190413 w 12190413"/>
              <a:gd name="connsiteY2" fmla="*/ 6005394 h 6858000"/>
              <a:gd name="connsiteX3" fmla="*/ 9456590 w 12190413"/>
              <a:gd name="connsiteY3" fmla="*/ 6488001 h 6858000"/>
              <a:gd name="connsiteX4" fmla="*/ 9456596 w 12190413"/>
              <a:gd name="connsiteY4" fmla="*/ 6487972 h 6858000"/>
              <a:gd name="connsiteX5" fmla="*/ 7360505 w 12190413"/>
              <a:gd name="connsiteY5" fmla="*/ 6858000 h 6858000"/>
              <a:gd name="connsiteX6" fmla="*/ 0 w 1219041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0413" h="6858000">
                <a:moveTo>
                  <a:pt x="0" y="0"/>
                </a:moveTo>
                <a:lnTo>
                  <a:pt x="12190413" y="0"/>
                </a:lnTo>
                <a:lnTo>
                  <a:pt x="12190413" y="6005394"/>
                </a:lnTo>
                <a:lnTo>
                  <a:pt x="9456590" y="6488001"/>
                </a:lnTo>
                <a:lnTo>
                  <a:pt x="9456596" y="6487972"/>
                </a:lnTo>
                <a:lnTo>
                  <a:pt x="736050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MIO_VALID_LAYOUT" hidden="1">
            <a:extLst>
              <a:ext uri="{FF2B5EF4-FFF2-40B4-BE49-F238E27FC236}">
                <a16:creationId xmlns:a16="http://schemas.microsoft.com/office/drawing/2014/main" id="{9042368A-467A-4192-AC88-C5F7DD7592CC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</p:spTree>
    <p:extLst>
      <p:ext uri="{BB962C8B-B14F-4D97-AF65-F5344CB8AC3E}">
        <p14:creationId xmlns:p14="http://schemas.microsoft.com/office/powerpoint/2010/main" val="2917669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color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A5DA457-7D33-4BCE-8B0D-F5ADDD8534F4}" type="datetime1">
              <a:rPr lang="en-US" smtClean="0"/>
              <a:t>7/26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0BEF0AA-7D26-4E86-A503-22CEF564FF5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9144000" cy="5143500"/>
          </a:xfrm>
          <a:custGeom>
            <a:avLst/>
            <a:gdLst>
              <a:gd name="connsiteX0" fmla="*/ 0 w 12190413"/>
              <a:gd name="connsiteY0" fmla="*/ 0 h 6858000"/>
              <a:gd name="connsiteX1" fmla="*/ 12190413 w 12190413"/>
              <a:gd name="connsiteY1" fmla="*/ 0 h 6858000"/>
              <a:gd name="connsiteX2" fmla="*/ 12190413 w 12190413"/>
              <a:gd name="connsiteY2" fmla="*/ 6005394 h 6858000"/>
              <a:gd name="connsiteX3" fmla="*/ 9456590 w 12190413"/>
              <a:gd name="connsiteY3" fmla="*/ 6488001 h 6858000"/>
              <a:gd name="connsiteX4" fmla="*/ 9456596 w 12190413"/>
              <a:gd name="connsiteY4" fmla="*/ 6487972 h 6858000"/>
              <a:gd name="connsiteX5" fmla="*/ 7360505 w 12190413"/>
              <a:gd name="connsiteY5" fmla="*/ 6858000 h 6858000"/>
              <a:gd name="connsiteX6" fmla="*/ 0 w 1219041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0413" h="6858000">
                <a:moveTo>
                  <a:pt x="0" y="0"/>
                </a:moveTo>
                <a:lnTo>
                  <a:pt x="12190413" y="0"/>
                </a:lnTo>
                <a:lnTo>
                  <a:pt x="12190413" y="6005394"/>
                </a:lnTo>
                <a:lnTo>
                  <a:pt x="9456590" y="6488001"/>
                </a:lnTo>
                <a:lnTo>
                  <a:pt x="9456596" y="6487972"/>
                </a:lnTo>
                <a:lnTo>
                  <a:pt x="736050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MIO_VALID_LAYOUT" hidden="1">
            <a:extLst>
              <a:ext uri="{FF2B5EF4-FFF2-40B4-BE49-F238E27FC236}">
                <a16:creationId xmlns:a16="http://schemas.microsoft.com/office/drawing/2014/main" id="{98938445-C844-4B5D-BD30-D1A022CDD4E4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</p:spTree>
    <p:extLst>
      <p:ext uri="{BB962C8B-B14F-4D97-AF65-F5344CB8AC3E}">
        <p14:creationId xmlns:p14="http://schemas.microsoft.com/office/powerpoint/2010/main" val="4204506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color 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39D3C3D-8DC6-4FF6-9075-6A6F94AF8EA2}" type="datetime1">
              <a:rPr lang="en-US" smtClean="0"/>
              <a:t>7/26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0BEF0AA-7D26-4E86-A503-22CEF564FF5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9144000" cy="5143500"/>
          </a:xfrm>
          <a:custGeom>
            <a:avLst/>
            <a:gdLst>
              <a:gd name="connsiteX0" fmla="*/ 0 w 12190413"/>
              <a:gd name="connsiteY0" fmla="*/ 0 h 6858000"/>
              <a:gd name="connsiteX1" fmla="*/ 12190413 w 12190413"/>
              <a:gd name="connsiteY1" fmla="*/ 0 h 6858000"/>
              <a:gd name="connsiteX2" fmla="*/ 12190413 w 12190413"/>
              <a:gd name="connsiteY2" fmla="*/ 6005394 h 6858000"/>
              <a:gd name="connsiteX3" fmla="*/ 9456590 w 12190413"/>
              <a:gd name="connsiteY3" fmla="*/ 6488001 h 6858000"/>
              <a:gd name="connsiteX4" fmla="*/ 9456596 w 12190413"/>
              <a:gd name="connsiteY4" fmla="*/ 6487972 h 6858000"/>
              <a:gd name="connsiteX5" fmla="*/ 7360505 w 12190413"/>
              <a:gd name="connsiteY5" fmla="*/ 6858000 h 6858000"/>
              <a:gd name="connsiteX6" fmla="*/ 0 w 1219041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0413" h="6858000">
                <a:moveTo>
                  <a:pt x="0" y="0"/>
                </a:moveTo>
                <a:lnTo>
                  <a:pt x="12190413" y="0"/>
                </a:lnTo>
                <a:lnTo>
                  <a:pt x="12190413" y="6005394"/>
                </a:lnTo>
                <a:lnTo>
                  <a:pt x="9456590" y="6488001"/>
                </a:lnTo>
                <a:lnTo>
                  <a:pt x="9456596" y="6487972"/>
                </a:lnTo>
                <a:lnTo>
                  <a:pt x="736050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MIO_VALID_LAYOUT" hidden="1">
            <a:extLst>
              <a:ext uri="{FF2B5EF4-FFF2-40B4-BE49-F238E27FC236}">
                <a16:creationId xmlns:a16="http://schemas.microsoft.com/office/drawing/2014/main" id="{E0B21575-EF11-4445-9971-15B8E3D09C0E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</p:spTree>
    <p:extLst>
      <p:ext uri="{BB962C8B-B14F-4D97-AF65-F5344CB8AC3E}">
        <p14:creationId xmlns:p14="http://schemas.microsoft.com/office/powerpoint/2010/main" val="2927823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Image">
    <p:bg>
      <p:bgPr>
        <a:gradFill>
          <a:gsLst>
            <a:gs pos="0">
              <a:srgbClr val="00617F"/>
            </a:gs>
            <a:gs pos="33000">
              <a:srgbClr val="00617F"/>
            </a:gs>
            <a:gs pos="72000">
              <a:srgbClr val="10384F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blackGray">
          <a:xfrm>
            <a:off x="736462" y="853724"/>
            <a:ext cx="3917107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bg1"/>
                </a:solidFill>
              </a:defRPr>
            </a:lvl1pPr>
            <a:lvl2pPr marL="0" indent="0" algn="l">
              <a:buNone/>
              <a:defRPr sz="1350">
                <a:solidFill>
                  <a:schemeClr val="bg1"/>
                </a:solidFill>
              </a:defRPr>
            </a:lvl2pPr>
            <a:lvl3pPr marL="0" indent="0" algn="l">
              <a:buNone/>
              <a:defRPr sz="1350">
                <a:solidFill>
                  <a:schemeClr val="bg1"/>
                </a:solidFill>
              </a:defRPr>
            </a:lvl3pPr>
            <a:lvl4pPr marL="0" indent="0" algn="l">
              <a:buNone/>
              <a:defRPr sz="1350">
                <a:solidFill>
                  <a:schemeClr val="bg1"/>
                </a:solidFill>
              </a:defRPr>
            </a:lvl4pPr>
            <a:lvl5pPr marL="0" indent="0" algn="l">
              <a:buNone/>
              <a:defRPr sz="1350">
                <a:solidFill>
                  <a:schemeClr val="bg1"/>
                </a:solidFill>
              </a:defRPr>
            </a:lvl5pPr>
            <a:lvl6pPr marL="0" indent="0" algn="l">
              <a:buNone/>
              <a:defRPr sz="1350">
                <a:solidFill>
                  <a:schemeClr val="bg1"/>
                </a:solidFill>
              </a:defRPr>
            </a:lvl6pPr>
            <a:lvl7pPr marL="0" indent="0" algn="l">
              <a:buNone/>
              <a:defRPr sz="1350">
                <a:solidFill>
                  <a:schemeClr val="bg1"/>
                </a:solidFill>
              </a:defRPr>
            </a:lvl7pPr>
            <a:lvl8pPr marL="0" indent="0" algn="l">
              <a:buNone/>
              <a:defRPr sz="1350">
                <a:solidFill>
                  <a:schemeClr val="bg1"/>
                </a:solidFill>
              </a:defRPr>
            </a:lvl8pPr>
            <a:lvl9pPr marL="0" indent="0" algn="l">
              <a:buNone/>
              <a:defRPr sz="13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736461" y="136454"/>
            <a:ext cx="3914355" cy="64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47097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 bwMode="blackGray">
          <a:xfrm>
            <a:off x="735306" y="1299563"/>
            <a:ext cx="3915510" cy="35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02500" indent="-2025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2pPr>
            <a:lvl3pPr marL="405000" indent="-2025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810000" indent="-2025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5pPr>
            <a:lvl6pPr marL="810000" indent="-2025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6pPr>
            <a:lvl7pPr marL="810000" indent="-2025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7pPr>
            <a:lvl8pPr marL="810000" indent="-2025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8pPr>
            <a:lvl9pPr marL="810000" indent="-2025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blackGray"/>
        <p:txBody>
          <a:bodyPr/>
          <a:lstStyle/>
          <a:p>
            <a:fld id="{B7636485-4040-4784-97E1-8C066B2E16DE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C77919B-A9AC-4BDC-AFFF-F044C1C960F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4566484" y="0"/>
            <a:ext cx="4577517" cy="5143500"/>
          </a:xfrm>
          <a:custGeom>
            <a:avLst/>
            <a:gdLst>
              <a:gd name="connsiteX0" fmla="*/ 2207052 w 6102561"/>
              <a:gd name="connsiteY0" fmla="*/ 0 h 6858000"/>
              <a:gd name="connsiteX1" fmla="*/ 6102561 w 6102561"/>
              <a:gd name="connsiteY1" fmla="*/ 0 h 6858000"/>
              <a:gd name="connsiteX2" fmla="*/ 6102561 w 6102561"/>
              <a:gd name="connsiteY2" fmla="*/ 6004136 h 6858000"/>
              <a:gd name="connsiteX3" fmla="*/ 1260056 w 6102561"/>
              <a:gd name="connsiteY3" fmla="*/ 6858000 h 6858000"/>
              <a:gd name="connsiteX4" fmla="*/ 0 w 6102561"/>
              <a:gd name="connsiteY4" fmla="*/ 6858000 h 6858000"/>
              <a:gd name="connsiteX5" fmla="*/ 1600143 w 6102561"/>
              <a:gd name="connsiteY5" fmla="*/ 1663368 h 6858000"/>
              <a:gd name="connsiteX6" fmla="*/ 2112522 w 6102561"/>
              <a:gd name="connsiteY6" fmla="*/ 0 h 6858000"/>
              <a:gd name="connsiteX7" fmla="*/ 2187892 w 6102561"/>
              <a:gd name="connsiteY7" fmla="*/ 0 h 6858000"/>
              <a:gd name="connsiteX8" fmla="*/ 1703999 w 6102561"/>
              <a:gd name="connsiteY8" fmla="*/ 13262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02561" h="6858000">
                <a:moveTo>
                  <a:pt x="2207052" y="0"/>
                </a:moveTo>
                <a:lnTo>
                  <a:pt x="6102561" y="0"/>
                </a:lnTo>
                <a:lnTo>
                  <a:pt x="6102561" y="6004136"/>
                </a:lnTo>
                <a:lnTo>
                  <a:pt x="1260056" y="6858000"/>
                </a:lnTo>
                <a:lnTo>
                  <a:pt x="0" y="6858000"/>
                </a:lnTo>
                <a:lnTo>
                  <a:pt x="1600143" y="1663368"/>
                </a:lnTo>
                <a:close/>
                <a:moveTo>
                  <a:pt x="2112522" y="0"/>
                </a:moveTo>
                <a:lnTo>
                  <a:pt x="2187892" y="0"/>
                </a:lnTo>
                <a:lnTo>
                  <a:pt x="1703999" y="1326213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cxnSp>
        <p:nvCxnSpPr>
          <p:cNvPr id="17" name="Straight Connector 16"/>
          <p:cNvCxnSpPr/>
          <p:nvPr userDrawn="1"/>
        </p:nvCxnSpPr>
        <p:spPr bwMode="gray">
          <a:xfrm flipH="1">
            <a:off x="4339067" y="-7144"/>
            <a:ext cx="1877526" cy="5157788"/>
          </a:xfrm>
          <a:prstGeom prst="line">
            <a:avLst/>
          </a:prstGeom>
          <a:ln w="19050">
            <a:solidFill>
              <a:srgbClr val="FF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4A09119D-9F38-41AB-8859-26653864EEDD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4" name="Logoschutz" hidden="1">
            <a:extLst>
              <a:ext uri="{FF2B5EF4-FFF2-40B4-BE49-F238E27FC236}">
                <a16:creationId xmlns:a16="http://schemas.microsoft.com/office/drawing/2014/main" id="{9ECC12B3-72E0-4498-A881-61617266AF3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004909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Image 2">
    <p:bg>
      <p:bgPr>
        <a:gradFill>
          <a:gsLst>
            <a:gs pos="0">
              <a:srgbClr val="2B6636"/>
            </a:gs>
            <a:gs pos="33000">
              <a:srgbClr val="2B6636"/>
            </a:gs>
            <a:gs pos="72000">
              <a:srgbClr val="004422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blackGray">
          <a:xfrm>
            <a:off x="736462" y="853724"/>
            <a:ext cx="3917107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bg1"/>
                </a:solidFill>
              </a:defRPr>
            </a:lvl1pPr>
            <a:lvl2pPr marL="0" indent="0" algn="l">
              <a:buNone/>
              <a:defRPr sz="1350">
                <a:solidFill>
                  <a:schemeClr val="bg1"/>
                </a:solidFill>
              </a:defRPr>
            </a:lvl2pPr>
            <a:lvl3pPr marL="0" indent="0" algn="l">
              <a:buNone/>
              <a:defRPr sz="1350">
                <a:solidFill>
                  <a:schemeClr val="bg1"/>
                </a:solidFill>
              </a:defRPr>
            </a:lvl3pPr>
            <a:lvl4pPr marL="0" indent="0" algn="l">
              <a:buNone/>
              <a:defRPr sz="1350">
                <a:solidFill>
                  <a:schemeClr val="bg1"/>
                </a:solidFill>
              </a:defRPr>
            </a:lvl4pPr>
            <a:lvl5pPr marL="0" indent="0" algn="l">
              <a:buNone/>
              <a:defRPr sz="1350">
                <a:solidFill>
                  <a:schemeClr val="bg1"/>
                </a:solidFill>
              </a:defRPr>
            </a:lvl5pPr>
            <a:lvl6pPr marL="0" indent="0" algn="l">
              <a:buNone/>
              <a:defRPr sz="1350">
                <a:solidFill>
                  <a:schemeClr val="bg1"/>
                </a:solidFill>
              </a:defRPr>
            </a:lvl6pPr>
            <a:lvl7pPr marL="0" indent="0" algn="l">
              <a:buNone/>
              <a:defRPr sz="1350">
                <a:solidFill>
                  <a:schemeClr val="bg1"/>
                </a:solidFill>
              </a:defRPr>
            </a:lvl7pPr>
            <a:lvl8pPr marL="0" indent="0" algn="l">
              <a:buNone/>
              <a:defRPr sz="1350">
                <a:solidFill>
                  <a:schemeClr val="bg1"/>
                </a:solidFill>
              </a:defRPr>
            </a:lvl8pPr>
            <a:lvl9pPr marL="0" indent="0" algn="l">
              <a:buNone/>
              <a:defRPr sz="13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736461" y="136454"/>
            <a:ext cx="3914355" cy="64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47097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 bwMode="blackGray">
          <a:xfrm>
            <a:off x="735306" y="1299563"/>
            <a:ext cx="3915510" cy="35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02500" indent="-2025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2pPr>
            <a:lvl3pPr marL="405000" indent="-2025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3pPr>
            <a:lvl4pPr marL="607500" indent="-2025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4pPr>
            <a:lvl5pPr marL="810000" indent="-2025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5pPr>
            <a:lvl6pPr marL="810000" indent="-2025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6pPr>
            <a:lvl7pPr marL="810000" indent="-2025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7pPr>
            <a:lvl8pPr marL="810000" indent="-2025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8pPr>
            <a:lvl9pPr marL="810000" indent="-2025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blackGray"/>
        <p:txBody>
          <a:bodyPr/>
          <a:lstStyle/>
          <a:p>
            <a:fld id="{6E9B2EFF-3F88-4455-B844-45129A9E50ED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299C8ED-EE53-4A7F-803D-CF199A82E49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4566484" y="0"/>
            <a:ext cx="4577517" cy="5143500"/>
          </a:xfrm>
          <a:custGeom>
            <a:avLst/>
            <a:gdLst>
              <a:gd name="connsiteX0" fmla="*/ 2207052 w 6102561"/>
              <a:gd name="connsiteY0" fmla="*/ 0 h 6858000"/>
              <a:gd name="connsiteX1" fmla="*/ 6102561 w 6102561"/>
              <a:gd name="connsiteY1" fmla="*/ 0 h 6858000"/>
              <a:gd name="connsiteX2" fmla="*/ 6102561 w 6102561"/>
              <a:gd name="connsiteY2" fmla="*/ 6004136 h 6858000"/>
              <a:gd name="connsiteX3" fmla="*/ 1260056 w 6102561"/>
              <a:gd name="connsiteY3" fmla="*/ 6858000 h 6858000"/>
              <a:gd name="connsiteX4" fmla="*/ 0 w 6102561"/>
              <a:gd name="connsiteY4" fmla="*/ 6858000 h 6858000"/>
              <a:gd name="connsiteX5" fmla="*/ 1600143 w 6102561"/>
              <a:gd name="connsiteY5" fmla="*/ 1663368 h 6858000"/>
              <a:gd name="connsiteX6" fmla="*/ 2112522 w 6102561"/>
              <a:gd name="connsiteY6" fmla="*/ 0 h 6858000"/>
              <a:gd name="connsiteX7" fmla="*/ 2187892 w 6102561"/>
              <a:gd name="connsiteY7" fmla="*/ 0 h 6858000"/>
              <a:gd name="connsiteX8" fmla="*/ 1703999 w 6102561"/>
              <a:gd name="connsiteY8" fmla="*/ 13262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02561" h="6858000">
                <a:moveTo>
                  <a:pt x="2207052" y="0"/>
                </a:moveTo>
                <a:lnTo>
                  <a:pt x="6102561" y="0"/>
                </a:lnTo>
                <a:lnTo>
                  <a:pt x="6102561" y="6004136"/>
                </a:lnTo>
                <a:lnTo>
                  <a:pt x="1260056" y="6858000"/>
                </a:lnTo>
                <a:lnTo>
                  <a:pt x="0" y="6858000"/>
                </a:lnTo>
                <a:lnTo>
                  <a:pt x="1600143" y="1663368"/>
                </a:lnTo>
                <a:close/>
                <a:moveTo>
                  <a:pt x="2112522" y="0"/>
                </a:moveTo>
                <a:lnTo>
                  <a:pt x="2187892" y="0"/>
                </a:lnTo>
                <a:lnTo>
                  <a:pt x="1703999" y="1326213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cxnSp>
        <p:nvCxnSpPr>
          <p:cNvPr id="17" name="Straight Connector 16"/>
          <p:cNvCxnSpPr/>
          <p:nvPr userDrawn="1"/>
        </p:nvCxnSpPr>
        <p:spPr bwMode="gray">
          <a:xfrm flipH="1">
            <a:off x="4339067" y="-7144"/>
            <a:ext cx="1877526" cy="5157788"/>
          </a:xfrm>
          <a:prstGeom prst="line">
            <a:avLst/>
          </a:prstGeom>
          <a:ln w="19050">
            <a:solidFill>
              <a:srgbClr val="FF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IO_VALID_LAYOUT" hidden="1">
            <a:extLst>
              <a:ext uri="{FF2B5EF4-FFF2-40B4-BE49-F238E27FC236}">
                <a16:creationId xmlns:a16="http://schemas.microsoft.com/office/drawing/2014/main" id="{A88CA4B5-B7E5-41F4-B35E-704D4B15D87F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4" name="Logoschutz" hidden="1">
            <a:extLst>
              <a:ext uri="{FF2B5EF4-FFF2-40B4-BE49-F238E27FC236}">
                <a16:creationId xmlns:a16="http://schemas.microsoft.com/office/drawing/2014/main" id="{DCDC0750-A94B-47CA-8338-6CAF54139F0F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62297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Image 3">
    <p:bg>
      <p:bgPr>
        <a:gradFill>
          <a:gsLst>
            <a:gs pos="0">
              <a:srgbClr val="624963"/>
            </a:gs>
            <a:gs pos="33000">
              <a:srgbClr val="624963"/>
            </a:gs>
            <a:gs pos="72000">
              <a:srgbClr val="443247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blackGray">
          <a:xfrm>
            <a:off x="736462" y="853724"/>
            <a:ext cx="3917107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bg1"/>
                </a:solidFill>
              </a:defRPr>
            </a:lvl1pPr>
            <a:lvl2pPr marL="0" indent="0" algn="l">
              <a:buNone/>
              <a:defRPr sz="1350">
                <a:solidFill>
                  <a:schemeClr val="bg1"/>
                </a:solidFill>
              </a:defRPr>
            </a:lvl2pPr>
            <a:lvl3pPr marL="0" indent="0" algn="l">
              <a:buNone/>
              <a:defRPr sz="1350">
                <a:solidFill>
                  <a:schemeClr val="bg1"/>
                </a:solidFill>
              </a:defRPr>
            </a:lvl3pPr>
            <a:lvl4pPr marL="0" indent="0" algn="l">
              <a:buNone/>
              <a:defRPr sz="1350">
                <a:solidFill>
                  <a:schemeClr val="bg1"/>
                </a:solidFill>
              </a:defRPr>
            </a:lvl4pPr>
            <a:lvl5pPr marL="0" indent="0" algn="l">
              <a:buNone/>
              <a:defRPr sz="1350">
                <a:solidFill>
                  <a:schemeClr val="bg1"/>
                </a:solidFill>
              </a:defRPr>
            </a:lvl5pPr>
            <a:lvl6pPr marL="0" indent="0" algn="l">
              <a:buNone/>
              <a:defRPr sz="1350">
                <a:solidFill>
                  <a:schemeClr val="bg1"/>
                </a:solidFill>
              </a:defRPr>
            </a:lvl6pPr>
            <a:lvl7pPr marL="0" indent="0" algn="l">
              <a:buNone/>
              <a:defRPr sz="1350">
                <a:solidFill>
                  <a:schemeClr val="bg1"/>
                </a:solidFill>
              </a:defRPr>
            </a:lvl7pPr>
            <a:lvl8pPr marL="0" indent="0" algn="l">
              <a:buNone/>
              <a:defRPr sz="1350">
                <a:solidFill>
                  <a:schemeClr val="bg1"/>
                </a:solidFill>
              </a:defRPr>
            </a:lvl8pPr>
            <a:lvl9pPr marL="0" indent="0" algn="l">
              <a:buNone/>
              <a:defRPr sz="13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736461" y="136454"/>
            <a:ext cx="3914355" cy="64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47097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 bwMode="blackGray">
          <a:xfrm>
            <a:off x="735306" y="1299563"/>
            <a:ext cx="3915510" cy="35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02500" indent="-2025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2pPr>
            <a:lvl3pPr marL="405000" indent="-2025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3pPr>
            <a:lvl4pPr marL="607500" indent="-2025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4pPr>
            <a:lvl5pPr marL="810000" indent="-2025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5pPr>
            <a:lvl6pPr marL="810000" indent="-2025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6pPr>
            <a:lvl7pPr marL="810000" indent="-2025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7pPr>
            <a:lvl8pPr marL="810000" indent="-2025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8pPr>
            <a:lvl9pPr marL="810000" indent="-2025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blackGray"/>
        <p:txBody>
          <a:bodyPr/>
          <a:lstStyle/>
          <a:p>
            <a:fld id="{E6410B50-7086-467A-8EA7-23B06FFC2395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94F2EE7-38AE-4C94-90ED-CC2514C3E95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4566484" y="0"/>
            <a:ext cx="4577517" cy="5143500"/>
          </a:xfrm>
          <a:custGeom>
            <a:avLst/>
            <a:gdLst>
              <a:gd name="connsiteX0" fmla="*/ 2207052 w 6102561"/>
              <a:gd name="connsiteY0" fmla="*/ 0 h 6858000"/>
              <a:gd name="connsiteX1" fmla="*/ 6102561 w 6102561"/>
              <a:gd name="connsiteY1" fmla="*/ 0 h 6858000"/>
              <a:gd name="connsiteX2" fmla="*/ 6102561 w 6102561"/>
              <a:gd name="connsiteY2" fmla="*/ 6004136 h 6858000"/>
              <a:gd name="connsiteX3" fmla="*/ 1260056 w 6102561"/>
              <a:gd name="connsiteY3" fmla="*/ 6858000 h 6858000"/>
              <a:gd name="connsiteX4" fmla="*/ 0 w 6102561"/>
              <a:gd name="connsiteY4" fmla="*/ 6858000 h 6858000"/>
              <a:gd name="connsiteX5" fmla="*/ 1600143 w 6102561"/>
              <a:gd name="connsiteY5" fmla="*/ 1663368 h 6858000"/>
              <a:gd name="connsiteX6" fmla="*/ 2112522 w 6102561"/>
              <a:gd name="connsiteY6" fmla="*/ 0 h 6858000"/>
              <a:gd name="connsiteX7" fmla="*/ 2187892 w 6102561"/>
              <a:gd name="connsiteY7" fmla="*/ 0 h 6858000"/>
              <a:gd name="connsiteX8" fmla="*/ 1703999 w 6102561"/>
              <a:gd name="connsiteY8" fmla="*/ 13262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02561" h="6858000">
                <a:moveTo>
                  <a:pt x="2207052" y="0"/>
                </a:moveTo>
                <a:lnTo>
                  <a:pt x="6102561" y="0"/>
                </a:lnTo>
                <a:lnTo>
                  <a:pt x="6102561" y="6004136"/>
                </a:lnTo>
                <a:lnTo>
                  <a:pt x="1260056" y="6858000"/>
                </a:lnTo>
                <a:lnTo>
                  <a:pt x="0" y="6858000"/>
                </a:lnTo>
                <a:lnTo>
                  <a:pt x="1600143" y="1663368"/>
                </a:lnTo>
                <a:close/>
                <a:moveTo>
                  <a:pt x="2112522" y="0"/>
                </a:moveTo>
                <a:lnTo>
                  <a:pt x="2187892" y="0"/>
                </a:lnTo>
                <a:lnTo>
                  <a:pt x="1703999" y="1326213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cxnSp>
        <p:nvCxnSpPr>
          <p:cNvPr id="17" name="Straight Connector 16"/>
          <p:cNvCxnSpPr/>
          <p:nvPr userDrawn="1"/>
        </p:nvCxnSpPr>
        <p:spPr bwMode="gray">
          <a:xfrm flipH="1">
            <a:off x="4339067" y="-7144"/>
            <a:ext cx="1877526" cy="5157788"/>
          </a:xfrm>
          <a:prstGeom prst="line">
            <a:avLst/>
          </a:prstGeom>
          <a:ln w="19050">
            <a:solidFill>
              <a:srgbClr val="FF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IO_VALID_LAYOUT" hidden="1">
            <a:extLst>
              <a:ext uri="{FF2B5EF4-FFF2-40B4-BE49-F238E27FC236}">
                <a16:creationId xmlns:a16="http://schemas.microsoft.com/office/drawing/2014/main" id="{948692EA-1588-48F4-8661-74360DD4EE60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4" name="Logoschutz" hidden="1">
            <a:extLst>
              <a:ext uri="{FF2B5EF4-FFF2-40B4-BE49-F238E27FC236}">
                <a16:creationId xmlns:a16="http://schemas.microsoft.com/office/drawing/2014/main" id="{71B4C7FF-0C4C-4B3F-B22C-DBA30DB7B6A3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587035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Image 4">
    <p:bg>
      <p:bgPr>
        <a:gradFill>
          <a:gsLst>
            <a:gs pos="0">
              <a:srgbClr val="FF3162"/>
            </a:gs>
            <a:gs pos="33000">
              <a:srgbClr val="FF3162"/>
            </a:gs>
            <a:gs pos="72000">
              <a:srgbClr val="D30F4B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blackGray">
          <a:xfrm>
            <a:off x="736462" y="853724"/>
            <a:ext cx="3917107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bg1"/>
                </a:solidFill>
              </a:defRPr>
            </a:lvl1pPr>
            <a:lvl2pPr marL="0" indent="0" algn="l">
              <a:buNone/>
              <a:defRPr sz="1350">
                <a:solidFill>
                  <a:schemeClr val="bg1"/>
                </a:solidFill>
              </a:defRPr>
            </a:lvl2pPr>
            <a:lvl3pPr marL="0" indent="0" algn="l">
              <a:buNone/>
              <a:defRPr sz="1350">
                <a:solidFill>
                  <a:schemeClr val="bg1"/>
                </a:solidFill>
              </a:defRPr>
            </a:lvl3pPr>
            <a:lvl4pPr marL="0" indent="0" algn="l">
              <a:buNone/>
              <a:defRPr sz="1350">
                <a:solidFill>
                  <a:schemeClr val="bg1"/>
                </a:solidFill>
              </a:defRPr>
            </a:lvl4pPr>
            <a:lvl5pPr marL="0" indent="0" algn="l">
              <a:buNone/>
              <a:defRPr sz="1350">
                <a:solidFill>
                  <a:schemeClr val="bg1"/>
                </a:solidFill>
              </a:defRPr>
            </a:lvl5pPr>
            <a:lvl6pPr marL="0" indent="0" algn="l">
              <a:buNone/>
              <a:defRPr sz="1350">
                <a:solidFill>
                  <a:schemeClr val="bg1"/>
                </a:solidFill>
              </a:defRPr>
            </a:lvl6pPr>
            <a:lvl7pPr marL="0" indent="0" algn="l">
              <a:buNone/>
              <a:defRPr sz="1350">
                <a:solidFill>
                  <a:schemeClr val="bg1"/>
                </a:solidFill>
              </a:defRPr>
            </a:lvl7pPr>
            <a:lvl8pPr marL="0" indent="0" algn="l">
              <a:buNone/>
              <a:defRPr sz="1350">
                <a:solidFill>
                  <a:schemeClr val="bg1"/>
                </a:solidFill>
              </a:defRPr>
            </a:lvl8pPr>
            <a:lvl9pPr marL="0" indent="0" algn="l">
              <a:buNone/>
              <a:defRPr sz="13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736461" y="136454"/>
            <a:ext cx="3914355" cy="64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 bwMode="blackGray">
          <a:xfrm>
            <a:off x="735306" y="1299563"/>
            <a:ext cx="3915510" cy="35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025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2pPr>
            <a:lvl3pPr marL="405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3pPr>
            <a:lvl4pPr marL="6075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4pPr>
            <a:lvl5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5pPr>
            <a:lvl6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6pPr>
            <a:lvl7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7pPr>
            <a:lvl8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8pPr>
            <a:lvl9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blackGray"/>
        <p:txBody>
          <a:bodyPr/>
          <a:lstStyle/>
          <a:p>
            <a:fld id="{84B6D8C9-EDB7-4449-A55A-1EE50C0D9890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F279213-F726-4035-82FB-0E71165CDC5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4566484" y="0"/>
            <a:ext cx="4577517" cy="5143500"/>
          </a:xfrm>
          <a:custGeom>
            <a:avLst/>
            <a:gdLst>
              <a:gd name="connsiteX0" fmla="*/ 2207052 w 6102561"/>
              <a:gd name="connsiteY0" fmla="*/ 0 h 6858000"/>
              <a:gd name="connsiteX1" fmla="*/ 6102561 w 6102561"/>
              <a:gd name="connsiteY1" fmla="*/ 0 h 6858000"/>
              <a:gd name="connsiteX2" fmla="*/ 6102561 w 6102561"/>
              <a:gd name="connsiteY2" fmla="*/ 6004136 h 6858000"/>
              <a:gd name="connsiteX3" fmla="*/ 1260056 w 6102561"/>
              <a:gd name="connsiteY3" fmla="*/ 6858000 h 6858000"/>
              <a:gd name="connsiteX4" fmla="*/ 0 w 6102561"/>
              <a:gd name="connsiteY4" fmla="*/ 6858000 h 6858000"/>
              <a:gd name="connsiteX5" fmla="*/ 1600143 w 6102561"/>
              <a:gd name="connsiteY5" fmla="*/ 1663368 h 6858000"/>
              <a:gd name="connsiteX6" fmla="*/ 2112522 w 6102561"/>
              <a:gd name="connsiteY6" fmla="*/ 0 h 6858000"/>
              <a:gd name="connsiteX7" fmla="*/ 2187892 w 6102561"/>
              <a:gd name="connsiteY7" fmla="*/ 0 h 6858000"/>
              <a:gd name="connsiteX8" fmla="*/ 1703999 w 6102561"/>
              <a:gd name="connsiteY8" fmla="*/ 13262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02561" h="6858000">
                <a:moveTo>
                  <a:pt x="2207052" y="0"/>
                </a:moveTo>
                <a:lnTo>
                  <a:pt x="6102561" y="0"/>
                </a:lnTo>
                <a:lnTo>
                  <a:pt x="6102561" y="6004136"/>
                </a:lnTo>
                <a:lnTo>
                  <a:pt x="1260056" y="6858000"/>
                </a:lnTo>
                <a:lnTo>
                  <a:pt x="0" y="6858000"/>
                </a:lnTo>
                <a:lnTo>
                  <a:pt x="1600143" y="1663368"/>
                </a:lnTo>
                <a:close/>
                <a:moveTo>
                  <a:pt x="2112522" y="0"/>
                </a:moveTo>
                <a:lnTo>
                  <a:pt x="2187892" y="0"/>
                </a:lnTo>
                <a:lnTo>
                  <a:pt x="1703999" y="1326213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cxnSp>
        <p:nvCxnSpPr>
          <p:cNvPr id="17" name="Straight Connector 16"/>
          <p:cNvCxnSpPr/>
          <p:nvPr userDrawn="1"/>
        </p:nvCxnSpPr>
        <p:spPr bwMode="gray">
          <a:xfrm flipH="1">
            <a:off x="4339067" y="-7144"/>
            <a:ext cx="1877526" cy="5157788"/>
          </a:xfrm>
          <a:prstGeom prst="line">
            <a:avLst/>
          </a:prstGeom>
          <a:ln w="19050">
            <a:solidFill>
              <a:srgbClr val="FF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48294" y="463274"/>
            <a:ext cx="296475" cy="296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MIO_VALID_LAYOUT" hidden="1">
            <a:extLst>
              <a:ext uri="{FF2B5EF4-FFF2-40B4-BE49-F238E27FC236}">
                <a16:creationId xmlns:a16="http://schemas.microsoft.com/office/drawing/2014/main" id="{C9C21A3E-D567-4639-8F8C-181AF87C82C8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5" name="Logoschutz" hidden="1">
            <a:extLst>
              <a:ext uri="{FF2B5EF4-FFF2-40B4-BE49-F238E27FC236}">
                <a16:creationId xmlns:a16="http://schemas.microsoft.com/office/drawing/2014/main" id="{30A5C010-2728-40D0-B5CD-7CA004EFBF4E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813822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Image 5">
    <p:bg>
      <p:bgPr>
        <a:gradFill>
          <a:gsLst>
            <a:gs pos="0">
              <a:srgbClr val="00BCFF"/>
            </a:gs>
            <a:gs pos="33000">
              <a:srgbClr val="00BCFF"/>
            </a:gs>
            <a:gs pos="72000">
              <a:srgbClr val="0091DF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blackGray">
          <a:xfrm>
            <a:off x="736462" y="853724"/>
            <a:ext cx="3917107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bg1"/>
                </a:solidFill>
              </a:defRPr>
            </a:lvl1pPr>
            <a:lvl2pPr marL="0" indent="0" algn="l">
              <a:buNone/>
              <a:defRPr sz="1350">
                <a:solidFill>
                  <a:schemeClr val="bg1"/>
                </a:solidFill>
              </a:defRPr>
            </a:lvl2pPr>
            <a:lvl3pPr marL="0" indent="0" algn="l">
              <a:buNone/>
              <a:defRPr sz="1350">
                <a:solidFill>
                  <a:schemeClr val="bg1"/>
                </a:solidFill>
              </a:defRPr>
            </a:lvl3pPr>
            <a:lvl4pPr marL="0" indent="0" algn="l">
              <a:buNone/>
              <a:defRPr sz="1350">
                <a:solidFill>
                  <a:schemeClr val="bg1"/>
                </a:solidFill>
              </a:defRPr>
            </a:lvl4pPr>
            <a:lvl5pPr marL="0" indent="0" algn="l">
              <a:buNone/>
              <a:defRPr sz="1350">
                <a:solidFill>
                  <a:schemeClr val="bg1"/>
                </a:solidFill>
              </a:defRPr>
            </a:lvl5pPr>
            <a:lvl6pPr marL="0" indent="0" algn="l">
              <a:buNone/>
              <a:defRPr sz="1350">
                <a:solidFill>
                  <a:schemeClr val="bg1"/>
                </a:solidFill>
              </a:defRPr>
            </a:lvl6pPr>
            <a:lvl7pPr marL="0" indent="0" algn="l">
              <a:buNone/>
              <a:defRPr sz="1350">
                <a:solidFill>
                  <a:schemeClr val="bg1"/>
                </a:solidFill>
              </a:defRPr>
            </a:lvl7pPr>
            <a:lvl8pPr marL="0" indent="0" algn="l">
              <a:buNone/>
              <a:defRPr sz="1350">
                <a:solidFill>
                  <a:schemeClr val="bg1"/>
                </a:solidFill>
              </a:defRPr>
            </a:lvl8pPr>
            <a:lvl9pPr marL="0" indent="0" algn="l">
              <a:buNone/>
              <a:defRPr sz="13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736461" y="136454"/>
            <a:ext cx="3914355" cy="64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 bwMode="blackGray">
          <a:xfrm>
            <a:off x="735306" y="1299563"/>
            <a:ext cx="3915510" cy="35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025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2pPr>
            <a:lvl3pPr marL="405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3pPr>
            <a:lvl4pPr marL="6075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4pPr>
            <a:lvl5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5pPr>
            <a:lvl6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6pPr>
            <a:lvl7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7pPr>
            <a:lvl8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8pPr>
            <a:lvl9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blackGray"/>
        <p:txBody>
          <a:bodyPr/>
          <a:lstStyle/>
          <a:p>
            <a:fld id="{5CFA4F75-19FD-4F97-A600-75F74A7A152B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CA4D772A-68FD-46F3-822B-09739A1F5B3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4566484" y="0"/>
            <a:ext cx="4577517" cy="5143500"/>
          </a:xfrm>
          <a:custGeom>
            <a:avLst/>
            <a:gdLst>
              <a:gd name="connsiteX0" fmla="*/ 2207052 w 6102561"/>
              <a:gd name="connsiteY0" fmla="*/ 0 h 6858000"/>
              <a:gd name="connsiteX1" fmla="*/ 6102561 w 6102561"/>
              <a:gd name="connsiteY1" fmla="*/ 0 h 6858000"/>
              <a:gd name="connsiteX2" fmla="*/ 6102561 w 6102561"/>
              <a:gd name="connsiteY2" fmla="*/ 6004136 h 6858000"/>
              <a:gd name="connsiteX3" fmla="*/ 1260056 w 6102561"/>
              <a:gd name="connsiteY3" fmla="*/ 6858000 h 6858000"/>
              <a:gd name="connsiteX4" fmla="*/ 0 w 6102561"/>
              <a:gd name="connsiteY4" fmla="*/ 6858000 h 6858000"/>
              <a:gd name="connsiteX5" fmla="*/ 1600143 w 6102561"/>
              <a:gd name="connsiteY5" fmla="*/ 1663368 h 6858000"/>
              <a:gd name="connsiteX6" fmla="*/ 2112522 w 6102561"/>
              <a:gd name="connsiteY6" fmla="*/ 0 h 6858000"/>
              <a:gd name="connsiteX7" fmla="*/ 2187892 w 6102561"/>
              <a:gd name="connsiteY7" fmla="*/ 0 h 6858000"/>
              <a:gd name="connsiteX8" fmla="*/ 1703999 w 6102561"/>
              <a:gd name="connsiteY8" fmla="*/ 13262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02561" h="6858000">
                <a:moveTo>
                  <a:pt x="2207052" y="0"/>
                </a:moveTo>
                <a:lnTo>
                  <a:pt x="6102561" y="0"/>
                </a:lnTo>
                <a:lnTo>
                  <a:pt x="6102561" y="6004136"/>
                </a:lnTo>
                <a:lnTo>
                  <a:pt x="1260056" y="6858000"/>
                </a:lnTo>
                <a:lnTo>
                  <a:pt x="0" y="6858000"/>
                </a:lnTo>
                <a:lnTo>
                  <a:pt x="1600143" y="1663368"/>
                </a:lnTo>
                <a:close/>
                <a:moveTo>
                  <a:pt x="2112522" y="0"/>
                </a:moveTo>
                <a:lnTo>
                  <a:pt x="2187892" y="0"/>
                </a:lnTo>
                <a:lnTo>
                  <a:pt x="1703999" y="1326213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cxnSp>
        <p:nvCxnSpPr>
          <p:cNvPr id="17" name="Straight Connector 16"/>
          <p:cNvCxnSpPr/>
          <p:nvPr userDrawn="1"/>
        </p:nvCxnSpPr>
        <p:spPr bwMode="gray">
          <a:xfrm flipH="1">
            <a:off x="4339067" y="-7144"/>
            <a:ext cx="1877526" cy="5157788"/>
          </a:xfrm>
          <a:prstGeom prst="line">
            <a:avLst/>
          </a:prstGeom>
          <a:ln w="19050">
            <a:solidFill>
              <a:srgbClr val="FF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48294" y="463274"/>
            <a:ext cx="296475" cy="296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MIO_VALID_LAYOUT" hidden="1">
            <a:extLst>
              <a:ext uri="{FF2B5EF4-FFF2-40B4-BE49-F238E27FC236}">
                <a16:creationId xmlns:a16="http://schemas.microsoft.com/office/drawing/2014/main" id="{35FC9B7A-0CA0-44A8-B4D5-F45FC5AF8131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5" name="Logoschutz" hidden="1">
            <a:extLst>
              <a:ext uri="{FF2B5EF4-FFF2-40B4-BE49-F238E27FC236}">
                <a16:creationId xmlns:a16="http://schemas.microsoft.com/office/drawing/2014/main" id="{41F334E9-9725-4425-A4D2-A92F3E4F981B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210223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Image 6">
    <p:bg>
      <p:bgPr>
        <a:gradFill>
          <a:gsLst>
            <a:gs pos="0">
              <a:srgbClr val="89D329"/>
            </a:gs>
            <a:gs pos="33000">
              <a:srgbClr val="89D329"/>
            </a:gs>
            <a:gs pos="72000">
              <a:srgbClr val="66B51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blackGray">
          <a:xfrm>
            <a:off x="736462" y="853724"/>
            <a:ext cx="3917107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bg1"/>
                </a:solidFill>
              </a:defRPr>
            </a:lvl1pPr>
            <a:lvl2pPr marL="0" indent="0" algn="l">
              <a:buNone/>
              <a:defRPr sz="1350">
                <a:solidFill>
                  <a:schemeClr val="bg1"/>
                </a:solidFill>
              </a:defRPr>
            </a:lvl2pPr>
            <a:lvl3pPr marL="0" indent="0" algn="l">
              <a:buNone/>
              <a:defRPr sz="1350">
                <a:solidFill>
                  <a:schemeClr val="bg1"/>
                </a:solidFill>
              </a:defRPr>
            </a:lvl3pPr>
            <a:lvl4pPr marL="0" indent="0" algn="l">
              <a:buNone/>
              <a:defRPr sz="1350">
                <a:solidFill>
                  <a:schemeClr val="bg1"/>
                </a:solidFill>
              </a:defRPr>
            </a:lvl4pPr>
            <a:lvl5pPr marL="0" indent="0" algn="l">
              <a:buNone/>
              <a:defRPr sz="1350">
                <a:solidFill>
                  <a:schemeClr val="bg1"/>
                </a:solidFill>
              </a:defRPr>
            </a:lvl5pPr>
            <a:lvl6pPr marL="0" indent="0" algn="l">
              <a:buNone/>
              <a:defRPr sz="1350">
                <a:solidFill>
                  <a:schemeClr val="bg1"/>
                </a:solidFill>
              </a:defRPr>
            </a:lvl6pPr>
            <a:lvl7pPr marL="0" indent="0" algn="l">
              <a:buNone/>
              <a:defRPr sz="1350">
                <a:solidFill>
                  <a:schemeClr val="bg1"/>
                </a:solidFill>
              </a:defRPr>
            </a:lvl7pPr>
            <a:lvl8pPr marL="0" indent="0" algn="l">
              <a:buNone/>
              <a:defRPr sz="1350">
                <a:solidFill>
                  <a:schemeClr val="bg1"/>
                </a:solidFill>
              </a:defRPr>
            </a:lvl8pPr>
            <a:lvl9pPr marL="0" indent="0" algn="l">
              <a:buNone/>
              <a:defRPr sz="13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736461" y="136454"/>
            <a:ext cx="3914355" cy="64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 bwMode="blackGray">
          <a:xfrm>
            <a:off x="735306" y="1299563"/>
            <a:ext cx="3915510" cy="35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025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2pPr>
            <a:lvl3pPr marL="405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3pPr>
            <a:lvl4pPr marL="6075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4pPr>
            <a:lvl5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5pPr>
            <a:lvl6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6pPr>
            <a:lvl7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7pPr>
            <a:lvl8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8pPr>
            <a:lvl9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blackGray"/>
        <p:txBody>
          <a:bodyPr/>
          <a:lstStyle/>
          <a:p>
            <a:fld id="{E898A3C5-D206-4418-912D-C5E27F82FBB8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A3BF6C4A-D390-4C53-AA76-7A1C75E3189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4566484" y="0"/>
            <a:ext cx="4577517" cy="5143500"/>
          </a:xfrm>
          <a:custGeom>
            <a:avLst/>
            <a:gdLst>
              <a:gd name="connsiteX0" fmla="*/ 2207052 w 6102561"/>
              <a:gd name="connsiteY0" fmla="*/ 0 h 6858000"/>
              <a:gd name="connsiteX1" fmla="*/ 6102561 w 6102561"/>
              <a:gd name="connsiteY1" fmla="*/ 0 h 6858000"/>
              <a:gd name="connsiteX2" fmla="*/ 6102561 w 6102561"/>
              <a:gd name="connsiteY2" fmla="*/ 6004136 h 6858000"/>
              <a:gd name="connsiteX3" fmla="*/ 1260056 w 6102561"/>
              <a:gd name="connsiteY3" fmla="*/ 6858000 h 6858000"/>
              <a:gd name="connsiteX4" fmla="*/ 0 w 6102561"/>
              <a:gd name="connsiteY4" fmla="*/ 6858000 h 6858000"/>
              <a:gd name="connsiteX5" fmla="*/ 1600143 w 6102561"/>
              <a:gd name="connsiteY5" fmla="*/ 1663368 h 6858000"/>
              <a:gd name="connsiteX6" fmla="*/ 2112522 w 6102561"/>
              <a:gd name="connsiteY6" fmla="*/ 0 h 6858000"/>
              <a:gd name="connsiteX7" fmla="*/ 2187892 w 6102561"/>
              <a:gd name="connsiteY7" fmla="*/ 0 h 6858000"/>
              <a:gd name="connsiteX8" fmla="*/ 1703999 w 6102561"/>
              <a:gd name="connsiteY8" fmla="*/ 13262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02561" h="6858000">
                <a:moveTo>
                  <a:pt x="2207052" y="0"/>
                </a:moveTo>
                <a:lnTo>
                  <a:pt x="6102561" y="0"/>
                </a:lnTo>
                <a:lnTo>
                  <a:pt x="6102561" y="6004136"/>
                </a:lnTo>
                <a:lnTo>
                  <a:pt x="1260056" y="6858000"/>
                </a:lnTo>
                <a:lnTo>
                  <a:pt x="0" y="6858000"/>
                </a:lnTo>
                <a:lnTo>
                  <a:pt x="1600143" y="1663368"/>
                </a:lnTo>
                <a:close/>
                <a:moveTo>
                  <a:pt x="2112522" y="0"/>
                </a:moveTo>
                <a:lnTo>
                  <a:pt x="2187892" y="0"/>
                </a:lnTo>
                <a:lnTo>
                  <a:pt x="1703999" y="1326213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cxnSp>
        <p:nvCxnSpPr>
          <p:cNvPr id="17" name="Straight Connector 16"/>
          <p:cNvCxnSpPr/>
          <p:nvPr userDrawn="1"/>
        </p:nvCxnSpPr>
        <p:spPr bwMode="gray">
          <a:xfrm flipH="1">
            <a:off x="4339067" y="-7144"/>
            <a:ext cx="1877526" cy="5157788"/>
          </a:xfrm>
          <a:prstGeom prst="line">
            <a:avLst/>
          </a:prstGeom>
          <a:ln w="19050">
            <a:solidFill>
              <a:srgbClr val="FF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48294" y="463274"/>
            <a:ext cx="296475" cy="296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MIO_VALID_LAYOUT" hidden="1">
            <a:extLst>
              <a:ext uri="{FF2B5EF4-FFF2-40B4-BE49-F238E27FC236}">
                <a16:creationId xmlns:a16="http://schemas.microsoft.com/office/drawing/2014/main" id="{666C0A2E-3F77-4A81-B52F-2F4F753E635B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5" name="Logoschutz" hidden="1">
            <a:extLst>
              <a:ext uri="{FF2B5EF4-FFF2-40B4-BE49-F238E27FC236}">
                <a16:creationId xmlns:a16="http://schemas.microsoft.com/office/drawing/2014/main" id="{2F42F6C4-4DA4-49EF-B744-55B613463864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487589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Image small">
    <p:bg>
      <p:bgPr>
        <a:gradFill>
          <a:gsLst>
            <a:gs pos="0">
              <a:srgbClr val="00617F"/>
            </a:gs>
            <a:gs pos="38000">
              <a:srgbClr val="00617F"/>
            </a:gs>
            <a:gs pos="100000">
              <a:srgbClr val="0091DF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blackGray">
          <a:xfrm>
            <a:off x="736462" y="853724"/>
            <a:ext cx="3917107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bg1"/>
                </a:solidFill>
              </a:defRPr>
            </a:lvl1pPr>
            <a:lvl2pPr marL="0" indent="0" algn="l">
              <a:buNone/>
              <a:defRPr sz="1350">
                <a:solidFill>
                  <a:schemeClr val="bg1"/>
                </a:solidFill>
              </a:defRPr>
            </a:lvl2pPr>
            <a:lvl3pPr marL="0" indent="0" algn="l">
              <a:buNone/>
              <a:defRPr sz="1350">
                <a:solidFill>
                  <a:schemeClr val="bg1"/>
                </a:solidFill>
              </a:defRPr>
            </a:lvl3pPr>
            <a:lvl4pPr marL="0" indent="0" algn="l">
              <a:buNone/>
              <a:defRPr sz="1350">
                <a:solidFill>
                  <a:schemeClr val="bg1"/>
                </a:solidFill>
              </a:defRPr>
            </a:lvl4pPr>
            <a:lvl5pPr marL="0" indent="0" algn="l">
              <a:buNone/>
              <a:defRPr sz="1350">
                <a:solidFill>
                  <a:schemeClr val="bg1"/>
                </a:solidFill>
              </a:defRPr>
            </a:lvl5pPr>
            <a:lvl6pPr marL="0" indent="0" algn="l">
              <a:buNone/>
              <a:defRPr sz="1350">
                <a:solidFill>
                  <a:schemeClr val="bg1"/>
                </a:solidFill>
              </a:defRPr>
            </a:lvl6pPr>
            <a:lvl7pPr marL="0" indent="0" algn="l">
              <a:buNone/>
              <a:defRPr sz="1350">
                <a:solidFill>
                  <a:schemeClr val="bg1"/>
                </a:solidFill>
              </a:defRPr>
            </a:lvl7pPr>
            <a:lvl8pPr marL="0" indent="0" algn="l">
              <a:buNone/>
              <a:defRPr sz="1350">
                <a:solidFill>
                  <a:schemeClr val="bg1"/>
                </a:solidFill>
              </a:defRPr>
            </a:lvl8pPr>
            <a:lvl9pPr marL="0" indent="0" algn="l">
              <a:buNone/>
              <a:defRPr sz="13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736461" y="136454"/>
            <a:ext cx="3914355" cy="64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 bwMode="blackGray">
          <a:xfrm>
            <a:off x="735307" y="1299563"/>
            <a:ext cx="2894191" cy="35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025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2pPr>
            <a:lvl3pPr marL="405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3pPr>
            <a:lvl4pPr marL="6075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4pPr>
            <a:lvl5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5pPr>
            <a:lvl6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6pPr>
            <a:lvl7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7pPr>
            <a:lvl8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8pPr>
            <a:lvl9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blackGray"/>
        <p:txBody>
          <a:bodyPr/>
          <a:lstStyle/>
          <a:p>
            <a:fld id="{0ED2C21D-F0E9-4E87-9E22-F4213E6384D3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1604325D-61B9-4541-AF56-CEC13BC3AF7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3113539" y="0"/>
            <a:ext cx="6030461" cy="5143500"/>
          </a:xfrm>
          <a:custGeom>
            <a:avLst/>
            <a:gdLst>
              <a:gd name="connsiteX0" fmla="*/ 3718833 w 8039568"/>
              <a:gd name="connsiteY0" fmla="*/ 0 h 6858000"/>
              <a:gd name="connsiteX1" fmla="*/ 8039568 w 8039568"/>
              <a:gd name="connsiteY1" fmla="*/ 0 h 6858000"/>
              <a:gd name="connsiteX2" fmla="*/ 8039568 w 8039568"/>
              <a:gd name="connsiteY2" fmla="*/ 2282325 h 6858000"/>
              <a:gd name="connsiteX3" fmla="*/ 3661832 w 8039568"/>
              <a:gd name="connsiteY3" fmla="*/ 6858000 h 6858000"/>
              <a:gd name="connsiteX4" fmla="*/ 0 w 8039568"/>
              <a:gd name="connsiteY4" fmla="*/ 6858000 h 6858000"/>
              <a:gd name="connsiteX5" fmla="*/ 1896492 w 8039568"/>
              <a:gd name="connsiteY5" fmla="*/ 3252421 h 6858000"/>
              <a:gd name="connsiteX6" fmla="*/ 3607226 w 8039568"/>
              <a:gd name="connsiteY6" fmla="*/ 0 h 6858000"/>
              <a:gd name="connsiteX7" fmla="*/ 3698200 w 8039568"/>
              <a:gd name="connsiteY7" fmla="*/ 0 h 6858000"/>
              <a:gd name="connsiteX8" fmla="*/ 2212758 w 8039568"/>
              <a:gd name="connsiteY8" fmla="*/ 265114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039568" h="6858000">
                <a:moveTo>
                  <a:pt x="3718833" y="0"/>
                </a:moveTo>
                <a:lnTo>
                  <a:pt x="8039568" y="0"/>
                </a:lnTo>
                <a:lnTo>
                  <a:pt x="8039568" y="2282325"/>
                </a:lnTo>
                <a:lnTo>
                  <a:pt x="3661832" y="6858000"/>
                </a:lnTo>
                <a:lnTo>
                  <a:pt x="0" y="6858000"/>
                </a:lnTo>
                <a:lnTo>
                  <a:pt x="1896492" y="3252421"/>
                </a:lnTo>
                <a:close/>
                <a:moveTo>
                  <a:pt x="3607226" y="0"/>
                </a:moveTo>
                <a:lnTo>
                  <a:pt x="3698200" y="0"/>
                </a:lnTo>
                <a:lnTo>
                  <a:pt x="2212758" y="2651141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2E924F3-7508-40CC-AB3B-5925C953420E}"/>
              </a:ext>
            </a:extLst>
          </p:cNvPr>
          <p:cNvCxnSpPr/>
          <p:nvPr/>
        </p:nvCxnSpPr>
        <p:spPr bwMode="gray">
          <a:xfrm flipH="1">
            <a:off x="3012444" y="0"/>
            <a:ext cx="2880982" cy="5143500"/>
          </a:xfrm>
          <a:prstGeom prst="line">
            <a:avLst/>
          </a:prstGeom>
          <a:ln w="19050">
            <a:solidFill>
              <a:srgbClr val="89D3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48294" y="463274"/>
            <a:ext cx="296475" cy="296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D05AEB66-0790-4354-BEA5-8E1A8FDE2081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4" name="Logoschutz" hidden="1">
            <a:extLst>
              <a:ext uri="{FF2B5EF4-FFF2-40B4-BE49-F238E27FC236}">
                <a16:creationId xmlns:a16="http://schemas.microsoft.com/office/drawing/2014/main" id="{BE18D3D7-B8CE-426F-AB9B-F9D418A41F9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213605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Image small 3">
    <p:bg>
      <p:bgPr>
        <a:gradFill>
          <a:gsLst>
            <a:gs pos="0">
              <a:srgbClr val="443247"/>
            </a:gs>
            <a:gs pos="38000">
              <a:srgbClr val="443247"/>
            </a:gs>
            <a:gs pos="100000">
              <a:srgbClr val="624963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blackGray">
          <a:xfrm>
            <a:off x="736462" y="853724"/>
            <a:ext cx="3917107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bg1"/>
                </a:solidFill>
              </a:defRPr>
            </a:lvl1pPr>
            <a:lvl2pPr marL="0" indent="0" algn="l">
              <a:buNone/>
              <a:defRPr sz="1350">
                <a:solidFill>
                  <a:schemeClr val="bg1"/>
                </a:solidFill>
              </a:defRPr>
            </a:lvl2pPr>
            <a:lvl3pPr marL="0" indent="0" algn="l">
              <a:buNone/>
              <a:defRPr sz="1350">
                <a:solidFill>
                  <a:schemeClr val="bg1"/>
                </a:solidFill>
              </a:defRPr>
            </a:lvl3pPr>
            <a:lvl4pPr marL="0" indent="0" algn="l">
              <a:buNone/>
              <a:defRPr sz="1350">
                <a:solidFill>
                  <a:schemeClr val="bg1"/>
                </a:solidFill>
              </a:defRPr>
            </a:lvl4pPr>
            <a:lvl5pPr marL="0" indent="0" algn="l">
              <a:buNone/>
              <a:defRPr sz="1350">
                <a:solidFill>
                  <a:schemeClr val="bg1"/>
                </a:solidFill>
              </a:defRPr>
            </a:lvl5pPr>
            <a:lvl6pPr marL="0" indent="0" algn="l">
              <a:buNone/>
              <a:defRPr sz="1350">
                <a:solidFill>
                  <a:schemeClr val="bg1"/>
                </a:solidFill>
              </a:defRPr>
            </a:lvl6pPr>
            <a:lvl7pPr marL="0" indent="0" algn="l">
              <a:buNone/>
              <a:defRPr sz="1350">
                <a:solidFill>
                  <a:schemeClr val="bg1"/>
                </a:solidFill>
              </a:defRPr>
            </a:lvl7pPr>
            <a:lvl8pPr marL="0" indent="0" algn="l">
              <a:buNone/>
              <a:defRPr sz="1350">
                <a:solidFill>
                  <a:schemeClr val="bg1"/>
                </a:solidFill>
              </a:defRPr>
            </a:lvl8pPr>
            <a:lvl9pPr marL="0" indent="0" algn="l">
              <a:buNone/>
              <a:defRPr sz="13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736461" y="136454"/>
            <a:ext cx="3914355" cy="64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 bwMode="blackGray">
          <a:xfrm>
            <a:off x="735307" y="1299563"/>
            <a:ext cx="2894191" cy="35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025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2pPr>
            <a:lvl3pPr marL="405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3pPr>
            <a:lvl4pPr marL="6075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4pPr>
            <a:lvl5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5pPr>
            <a:lvl6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6pPr>
            <a:lvl7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7pPr>
            <a:lvl8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8pPr>
            <a:lvl9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blackGray"/>
        <p:txBody>
          <a:bodyPr/>
          <a:lstStyle/>
          <a:p>
            <a:fld id="{9BE03C71-C3C6-463C-8DDF-E1871E1F2805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E4A5FB0A-3867-4C21-BFD0-E613EDFC1E9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3113539" y="0"/>
            <a:ext cx="6030461" cy="5143500"/>
          </a:xfrm>
          <a:custGeom>
            <a:avLst/>
            <a:gdLst>
              <a:gd name="connsiteX0" fmla="*/ 3718833 w 8039568"/>
              <a:gd name="connsiteY0" fmla="*/ 0 h 6858000"/>
              <a:gd name="connsiteX1" fmla="*/ 8039568 w 8039568"/>
              <a:gd name="connsiteY1" fmla="*/ 0 h 6858000"/>
              <a:gd name="connsiteX2" fmla="*/ 8039568 w 8039568"/>
              <a:gd name="connsiteY2" fmla="*/ 2282325 h 6858000"/>
              <a:gd name="connsiteX3" fmla="*/ 3661832 w 8039568"/>
              <a:gd name="connsiteY3" fmla="*/ 6858000 h 6858000"/>
              <a:gd name="connsiteX4" fmla="*/ 0 w 8039568"/>
              <a:gd name="connsiteY4" fmla="*/ 6858000 h 6858000"/>
              <a:gd name="connsiteX5" fmla="*/ 1896492 w 8039568"/>
              <a:gd name="connsiteY5" fmla="*/ 3252421 h 6858000"/>
              <a:gd name="connsiteX6" fmla="*/ 3607226 w 8039568"/>
              <a:gd name="connsiteY6" fmla="*/ 0 h 6858000"/>
              <a:gd name="connsiteX7" fmla="*/ 3698200 w 8039568"/>
              <a:gd name="connsiteY7" fmla="*/ 0 h 6858000"/>
              <a:gd name="connsiteX8" fmla="*/ 2212758 w 8039568"/>
              <a:gd name="connsiteY8" fmla="*/ 265114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039568" h="6858000">
                <a:moveTo>
                  <a:pt x="3718833" y="0"/>
                </a:moveTo>
                <a:lnTo>
                  <a:pt x="8039568" y="0"/>
                </a:lnTo>
                <a:lnTo>
                  <a:pt x="8039568" y="2282325"/>
                </a:lnTo>
                <a:lnTo>
                  <a:pt x="3661832" y="6858000"/>
                </a:lnTo>
                <a:lnTo>
                  <a:pt x="0" y="6858000"/>
                </a:lnTo>
                <a:lnTo>
                  <a:pt x="1896492" y="3252421"/>
                </a:lnTo>
                <a:close/>
                <a:moveTo>
                  <a:pt x="3607226" y="0"/>
                </a:moveTo>
                <a:lnTo>
                  <a:pt x="3698200" y="0"/>
                </a:lnTo>
                <a:lnTo>
                  <a:pt x="2212758" y="2651141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2E924F3-7508-40CC-AB3B-5925C953420E}"/>
              </a:ext>
            </a:extLst>
          </p:cNvPr>
          <p:cNvCxnSpPr/>
          <p:nvPr/>
        </p:nvCxnSpPr>
        <p:spPr bwMode="gray">
          <a:xfrm flipH="1">
            <a:off x="3012444" y="0"/>
            <a:ext cx="2880982" cy="514350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48294" y="463274"/>
            <a:ext cx="296475" cy="296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643C7DD2-58DD-4C8E-9FA0-5B392F29948F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5" name="Logoschutz" hidden="1">
            <a:extLst>
              <a:ext uri="{FF2B5EF4-FFF2-40B4-BE49-F238E27FC236}">
                <a16:creationId xmlns:a16="http://schemas.microsoft.com/office/drawing/2014/main" id="{4F1AD3B7-6435-498F-BDBE-7DFFC6BFE078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51362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Image small 4">
    <p:bg>
      <p:bgPr>
        <a:gradFill>
          <a:gsLst>
            <a:gs pos="0">
              <a:srgbClr val="0091DF"/>
            </a:gs>
            <a:gs pos="38000">
              <a:srgbClr val="0091DF"/>
            </a:gs>
            <a:gs pos="100000">
              <a:srgbClr val="00BCFF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blackGray">
          <a:xfrm>
            <a:off x="736462" y="853724"/>
            <a:ext cx="3917107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bg1"/>
                </a:solidFill>
              </a:defRPr>
            </a:lvl1pPr>
            <a:lvl2pPr marL="0" indent="0" algn="l">
              <a:buNone/>
              <a:defRPr sz="1350">
                <a:solidFill>
                  <a:schemeClr val="bg1"/>
                </a:solidFill>
              </a:defRPr>
            </a:lvl2pPr>
            <a:lvl3pPr marL="0" indent="0" algn="l">
              <a:buNone/>
              <a:defRPr sz="1350">
                <a:solidFill>
                  <a:schemeClr val="bg1"/>
                </a:solidFill>
              </a:defRPr>
            </a:lvl3pPr>
            <a:lvl4pPr marL="0" indent="0" algn="l">
              <a:buNone/>
              <a:defRPr sz="1350">
                <a:solidFill>
                  <a:schemeClr val="bg1"/>
                </a:solidFill>
              </a:defRPr>
            </a:lvl4pPr>
            <a:lvl5pPr marL="0" indent="0" algn="l">
              <a:buNone/>
              <a:defRPr sz="1350">
                <a:solidFill>
                  <a:schemeClr val="bg1"/>
                </a:solidFill>
              </a:defRPr>
            </a:lvl5pPr>
            <a:lvl6pPr marL="0" indent="0" algn="l">
              <a:buNone/>
              <a:defRPr sz="1350">
                <a:solidFill>
                  <a:schemeClr val="bg1"/>
                </a:solidFill>
              </a:defRPr>
            </a:lvl6pPr>
            <a:lvl7pPr marL="0" indent="0" algn="l">
              <a:buNone/>
              <a:defRPr sz="1350">
                <a:solidFill>
                  <a:schemeClr val="bg1"/>
                </a:solidFill>
              </a:defRPr>
            </a:lvl7pPr>
            <a:lvl8pPr marL="0" indent="0" algn="l">
              <a:buNone/>
              <a:defRPr sz="1350">
                <a:solidFill>
                  <a:schemeClr val="bg1"/>
                </a:solidFill>
              </a:defRPr>
            </a:lvl8pPr>
            <a:lvl9pPr marL="0" indent="0" algn="l">
              <a:buNone/>
              <a:defRPr sz="13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736461" y="136454"/>
            <a:ext cx="3914355" cy="64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 bwMode="blackGray">
          <a:xfrm>
            <a:off x="735307" y="1299563"/>
            <a:ext cx="2894191" cy="35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025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2pPr>
            <a:lvl3pPr marL="405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3pPr>
            <a:lvl4pPr marL="6075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4pPr>
            <a:lvl5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5pPr>
            <a:lvl6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6pPr>
            <a:lvl7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7pPr>
            <a:lvl8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8pPr>
            <a:lvl9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blackGray"/>
        <p:txBody>
          <a:bodyPr/>
          <a:lstStyle/>
          <a:p>
            <a:fld id="{A4A4B4F9-2DAC-4DE6-84C1-3A0FF9CD590C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7F08115F-CF92-48E8-8EC6-A5BFB183935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3113539" y="0"/>
            <a:ext cx="6030461" cy="5143500"/>
          </a:xfrm>
          <a:custGeom>
            <a:avLst/>
            <a:gdLst>
              <a:gd name="connsiteX0" fmla="*/ 3718833 w 8039568"/>
              <a:gd name="connsiteY0" fmla="*/ 0 h 6858000"/>
              <a:gd name="connsiteX1" fmla="*/ 8039568 w 8039568"/>
              <a:gd name="connsiteY1" fmla="*/ 0 h 6858000"/>
              <a:gd name="connsiteX2" fmla="*/ 8039568 w 8039568"/>
              <a:gd name="connsiteY2" fmla="*/ 2282325 h 6858000"/>
              <a:gd name="connsiteX3" fmla="*/ 3661832 w 8039568"/>
              <a:gd name="connsiteY3" fmla="*/ 6858000 h 6858000"/>
              <a:gd name="connsiteX4" fmla="*/ 0 w 8039568"/>
              <a:gd name="connsiteY4" fmla="*/ 6858000 h 6858000"/>
              <a:gd name="connsiteX5" fmla="*/ 1896492 w 8039568"/>
              <a:gd name="connsiteY5" fmla="*/ 3252421 h 6858000"/>
              <a:gd name="connsiteX6" fmla="*/ 3607226 w 8039568"/>
              <a:gd name="connsiteY6" fmla="*/ 0 h 6858000"/>
              <a:gd name="connsiteX7" fmla="*/ 3698200 w 8039568"/>
              <a:gd name="connsiteY7" fmla="*/ 0 h 6858000"/>
              <a:gd name="connsiteX8" fmla="*/ 2212758 w 8039568"/>
              <a:gd name="connsiteY8" fmla="*/ 265114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039568" h="6858000">
                <a:moveTo>
                  <a:pt x="3718833" y="0"/>
                </a:moveTo>
                <a:lnTo>
                  <a:pt x="8039568" y="0"/>
                </a:lnTo>
                <a:lnTo>
                  <a:pt x="8039568" y="2282325"/>
                </a:lnTo>
                <a:lnTo>
                  <a:pt x="3661832" y="6858000"/>
                </a:lnTo>
                <a:lnTo>
                  <a:pt x="0" y="6858000"/>
                </a:lnTo>
                <a:lnTo>
                  <a:pt x="1896492" y="3252421"/>
                </a:lnTo>
                <a:close/>
                <a:moveTo>
                  <a:pt x="3607226" y="0"/>
                </a:moveTo>
                <a:lnTo>
                  <a:pt x="3698200" y="0"/>
                </a:lnTo>
                <a:lnTo>
                  <a:pt x="2212758" y="2651141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2E924F3-7508-40CC-AB3B-5925C953420E}"/>
              </a:ext>
            </a:extLst>
          </p:cNvPr>
          <p:cNvCxnSpPr/>
          <p:nvPr/>
        </p:nvCxnSpPr>
        <p:spPr bwMode="blackGray">
          <a:xfrm flipH="1">
            <a:off x="3012444" y="0"/>
            <a:ext cx="2880982" cy="514350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48294" y="463274"/>
            <a:ext cx="296475" cy="296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A4C8EED9-FC17-4D23-A01B-8C06515C926B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5" name="Logoschutz" hidden="1">
            <a:extLst>
              <a:ext uri="{FF2B5EF4-FFF2-40B4-BE49-F238E27FC236}">
                <a16:creationId xmlns:a16="http://schemas.microsoft.com/office/drawing/2014/main" id="{A06A077B-1F3F-4691-B55B-CFBCDBC49BF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800320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Image small 5">
    <p:bg>
      <p:bgPr>
        <a:gradFill>
          <a:gsLst>
            <a:gs pos="0">
              <a:srgbClr val="66B512"/>
            </a:gs>
            <a:gs pos="38000">
              <a:srgbClr val="66B512"/>
            </a:gs>
            <a:gs pos="100000">
              <a:srgbClr val="89D329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blackGray">
          <a:xfrm>
            <a:off x="736462" y="853724"/>
            <a:ext cx="3917107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bg1"/>
                </a:solidFill>
              </a:defRPr>
            </a:lvl1pPr>
            <a:lvl2pPr marL="0" indent="0" algn="l">
              <a:buNone/>
              <a:defRPr sz="1350">
                <a:solidFill>
                  <a:schemeClr val="bg1"/>
                </a:solidFill>
              </a:defRPr>
            </a:lvl2pPr>
            <a:lvl3pPr marL="0" indent="0" algn="l">
              <a:buNone/>
              <a:defRPr sz="1350">
                <a:solidFill>
                  <a:schemeClr val="bg1"/>
                </a:solidFill>
              </a:defRPr>
            </a:lvl3pPr>
            <a:lvl4pPr marL="0" indent="0" algn="l">
              <a:buNone/>
              <a:defRPr sz="1350">
                <a:solidFill>
                  <a:schemeClr val="bg1"/>
                </a:solidFill>
              </a:defRPr>
            </a:lvl4pPr>
            <a:lvl5pPr marL="0" indent="0" algn="l">
              <a:buNone/>
              <a:defRPr sz="1350">
                <a:solidFill>
                  <a:schemeClr val="bg1"/>
                </a:solidFill>
              </a:defRPr>
            </a:lvl5pPr>
            <a:lvl6pPr marL="0" indent="0" algn="l">
              <a:buNone/>
              <a:defRPr sz="1350">
                <a:solidFill>
                  <a:schemeClr val="bg1"/>
                </a:solidFill>
              </a:defRPr>
            </a:lvl6pPr>
            <a:lvl7pPr marL="0" indent="0" algn="l">
              <a:buNone/>
              <a:defRPr sz="1350">
                <a:solidFill>
                  <a:schemeClr val="bg1"/>
                </a:solidFill>
              </a:defRPr>
            </a:lvl7pPr>
            <a:lvl8pPr marL="0" indent="0" algn="l">
              <a:buNone/>
              <a:defRPr sz="1350">
                <a:solidFill>
                  <a:schemeClr val="bg1"/>
                </a:solidFill>
              </a:defRPr>
            </a:lvl8pPr>
            <a:lvl9pPr marL="0" indent="0" algn="l">
              <a:buNone/>
              <a:defRPr sz="13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736461" y="136454"/>
            <a:ext cx="3914355" cy="64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 bwMode="blackGray">
          <a:xfrm>
            <a:off x="735307" y="1299563"/>
            <a:ext cx="2894191" cy="35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025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2pPr>
            <a:lvl3pPr marL="405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3pPr>
            <a:lvl4pPr marL="6075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4pPr>
            <a:lvl5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5pPr>
            <a:lvl6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6pPr>
            <a:lvl7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7pPr>
            <a:lvl8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8pPr>
            <a:lvl9pPr marL="810000" indent="-2025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blackGray"/>
        <p:txBody>
          <a:bodyPr/>
          <a:lstStyle/>
          <a:p>
            <a:fld id="{C39251BD-2C41-448A-BC2E-C9333ED70C9E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E362B84-BE35-418F-90E4-895912ADBFB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3113539" y="0"/>
            <a:ext cx="6030461" cy="5143500"/>
          </a:xfrm>
          <a:custGeom>
            <a:avLst/>
            <a:gdLst>
              <a:gd name="connsiteX0" fmla="*/ 3718833 w 8039568"/>
              <a:gd name="connsiteY0" fmla="*/ 0 h 6858000"/>
              <a:gd name="connsiteX1" fmla="*/ 8039568 w 8039568"/>
              <a:gd name="connsiteY1" fmla="*/ 0 h 6858000"/>
              <a:gd name="connsiteX2" fmla="*/ 8039568 w 8039568"/>
              <a:gd name="connsiteY2" fmla="*/ 2282325 h 6858000"/>
              <a:gd name="connsiteX3" fmla="*/ 3661832 w 8039568"/>
              <a:gd name="connsiteY3" fmla="*/ 6858000 h 6858000"/>
              <a:gd name="connsiteX4" fmla="*/ 0 w 8039568"/>
              <a:gd name="connsiteY4" fmla="*/ 6858000 h 6858000"/>
              <a:gd name="connsiteX5" fmla="*/ 1896492 w 8039568"/>
              <a:gd name="connsiteY5" fmla="*/ 3252421 h 6858000"/>
              <a:gd name="connsiteX6" fmla="*/ 3607226 w 8039568"/>
              <a:gd name="connsiteY6" fmla="*/ 0 h 6858000"/>
              <a:gd name="connsiteX7" fmla="*/ 3698200 w 8039568"/>
              <a:gd name="connsiteY7" fmla="*/ 0 h 6858000"/>
              <a:gd name="connsiteX8" fmla="*/ 2212758 w 8039568"/>
              <a:gd name="connsiteY8" fmla="*/ 265114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039568" h="6858000">
                <a:moveTo>
                  <a:pt x="3718833" y="0"/>
                </a:moveTo>
                <a:lnTo>
                  <a:pt x="8039568" y="0"/>
                </a:lnTo>
                <a:lnTo>
                  <a:pt x="8039568" y="2282325"/>
                </a:lnTo>
                <a:lnTo>
                  <a:pt x="3661832" y="6858000"/>
                </a:lnTo>
                <a:lnTo>
                  <a:pt x="0" y="6858000"/>
                </a:lnTo>
                <a:lnTo>
                  <a:pt x="1896492" y="3252421"/>
                </a:lnTo>
                <a:close/>
                <a:moveTo>
                  <a:pt x="3607226" y="0"/>
                </a:moveTo>
                <a:lnTo>
                  <a:pt x="3698200" y="0"/>
                </a:lnTo>
                <a:lnTo>
                  <a:pt x="2212758" y="2651141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2E924F3-7508-40CC-AB3B-5925C953420E}"/>
              </a:ext>
            </a:extLst>
          </p:cNvPr>
          <p:cNvCxnSpPr/>
          <p:nvPr/>
        </p:nvCxnSpPr>
        <p:spPr bwMode="gray">
          <a:xfrm flipH="1">
            <a:off x="3012444" y="0"/>
            <a:ext cx="2880982" cy="514350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48294" y="463274"/>
            <a:ext cx="296475" cy="296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7416F347-4E52-4FF4-8641-C87110E17F39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5" name="Logoschutz" hidden="1">
            <a:extLst>
              <a:ext uri="{FF2B5EF4-FFF2-40B4-BE49-F238E27FC236}">
                <a16:creationId xmlns:a16="http://schemas.microsoft.com/office/drawing/2014/main" id="{EA8AE9BC-B969-43D6-B9B7-A7674170C01B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922006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&amp;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1">
            <a:extLst>
              <a:ext uri="{FF2B5EF4-FFF2-40B4-BE49-F238E27FC236}">
                <a16:creationId xmlns:a16="http://schemas.microsoft.com/office/drawing/2014/main" id="{E247B09A-C17E-49FC-8B64-0C7914DED4F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blackGray">
          <a:xfrm>
            <a:off x="2" y="2"/>
            <a:ext cx="6086591" cy="5143499"/>
          </a:xfrm>
          <a:custGeom>
            <a:avLst/>
            <a:gdLst>
              <a:gd name="connsiteX0" fmla="*/ 385599 w 8114398"/>
              <a:gd name="connsiteY0" fmla="*/ 941860 h 6857998"/>
              <a:gd name="connsiteX1" fmla="*/ 405601 w 8114398"/>
              <a:gd name="connsiteY1" fmla="*/ 941860 h 6857998"/>
              <a:gd name="connsiteX2" fmla="*/ 411316 w 8114398"/>
              <a:gd name="connsiteY2" fmla="*/ 946623 h 6857998"/>
              <a:gd name="connsiteX3" fmla="*/ 405601 w 8114398"/>
              <a:gd name="connsiteY3" fmla="*/ 952338 h 6857998"/>
              <a:gd name="connsiteX4" fmla="*/ 385599 w 8114398"/>
              <a:gd name="connsiteY4" fmla="*/ 952338 h 6857998"/>
              <a:gd name="connsiteX5" fmla="*/ 385599 w 8114398"/>
              <a:gd name="connsiteY5" fmla="*/ 941860 h 6857998"/>
              <a:gd name="connsiteX6" fmla="*/ 372264 w 8114398"/>
              <a:gd name="connsiteY6" fmla="*/ 929478 h 6857998"/>
              <a:gd name="connsiteX7" fmla="*/ 372264 w 8114398"/>
              <a:gd name="connsiteY7" fmla="*/ 986628 h 6857998"/>
              <a:gd name="connsiteX8" fmla="*/ 385599 w 8114398"/>
              <a:gd name="connsiteY8" fmla="*/ 986628 h 6857998"/>
              <a:gd name="connsiteX9" fmla="*/ 385599 w 8114398"/>
              <a:gd name="connsiteY9" fmla="*/ 964720 h 6857998"/>
              <a:gd name="connsiteX10" fmla="*/ 396076 w 8114398"/>
              <a:gd name="connsiteY10" fmla="*/ 964720 h 6857998"/>
              <a:gd name="connsiteX11" fmla="*/ 413221 w 8114398"/>
              <a:gd name="connsiteY11" fmla="*/ 986628 h 6857998"/>
              <a:gd name="connsiteX12" fmla="*/ 429414 w 8114398"/>
              <a:gd name="connsiteY12" fmla="*/ 986628 h 6857998"/>
              <a:gd name="connsiteX13" fmla="*/ 413221 w 8114398"/>
              <a:gd name="connsiteY13" fmla="*/ 964720 h 6857998"/>
              <a:gd name="connsiteX14" fmla="*/ 425604 w 8114398"/>
              <a:gd name="connsiteY14" fmla="*/ 947575 h 6857998"/>
              <a:gd name="connsiteX15" fmla="*/ 407506 w 8114398"/>
              <a:gd name="connsiteY15" fmla="*/ 929478 h 6857998"/>
              <a:gd name="connsiteX16" fmla="*/ 372264 w 8114398"/>
              <a:gd name="connsiteY16" fmla="*/ 929478 h 6857998"/>
              <a:gd name="connsiteX17" fmla="*/ 371472 w 8114398"/>
              <a:gd name="connsiteY17" fmla="*/ 860422 h 6857998"/>
              <a:gd name="connsiteX18" fmla="*/ 371472 w 8114398"/>
              <a:gd name="connsiteY18" fmla="*/ 917572 h 6857998"/>
              <a:gd name="connsiteX19" fmla="*/ 419097 w 8114398"/>
              <a:gd name="connsiteY19" fmla="*/ 917572 h 6857998"/>
              <a:gd name="connsiteX20" fmla="*/ 419097 w 8114398"/>
              <a:gd name="connsiteY20" fmla="*/ 906142 h 6857998"/>
              <a:gd name="connsiteX21" fmla="*/ 383854 w 8114398"/>
              <a:gd name="connsiteY21" fmla="*/ 906142 h 6857998"/>
              <a:gd name="connsiteX22" fmla="*/ 383854 w 8114398"/>
              <a:gd name="connsiteY22" fmla="*/ 893759 h 6857998"/>
              <a:gd name="connsiteX23" fmla="*/ 417192 w 8114398"/>
              <a:gd name="connsiteY23" fmla="*/ 893759 h 6857998"/>
              <a:gd name="connsiteX24" fmla="*/ 417192 w 8114398"/>
              <a:gd name="connsiteY24" fmla="*/ 882329 h 6857998"/>
              <a:gd name="connsiteX25" fmla="*/ 383854 w 8114398"/>
              <a:gd name="connsiteY25" fmla="*/ 882329 h 6857998"/>
              <a:gd name="connsiteX26" fmla="*/ 383854 w 8114398"/>
              <a:gd name="connsiteY26" fmla="*/ 871852 h 6857998"/>
              <a:gd name="connsiteX27" fmla="*/ 419097 w 8114398"/>
              <a:gd name="connsiteY27" fmla="*/ 871852 h 6857998"/>
              <a:gd name="connsiteX28" fmla="*/ 419097 w 8114398"/>
              <a:gd name="connsiteY28" fmla="*/ 860422 h 6857998"/>
              <a:gd name="connsiteX29" fmla="*/ 251457 w 8114398"/>
              <a:gd name="connsiteY29" fmla="*/ 827084 h 6857998"/>
              <a:gd name="connsiteX30" fmla="*/ 276222 w 8114398"/>
              <a:gd name="connsiteY30" fmla="*/ 827084 h 6857998"/>
              <a:gd name="connsiteX31" fmla="*/ 281937 w 8114398"/>
              <a:gd name="connsiteY31" fmla="*/ 832799 h 6857998"/>
              <a:gd name="connsiteX32" fmla="*/ 276222 w 8114398"/>
              <a:gd name="connsiteY32" fmla="*/ 838514 h 6857998"/>
              <a:gd name="connsiteX33" fmla="*/ 251457 w 8114398"/>
              <a:gd name="connsiteY33" fmla="*/ 838514 h 6857998"/>
              <a:gd name="connsiteX34" fmla="*/ 337182 w 8114398"/>
              <a:gd name="connsiteY34" fmla="*/ 808034 h 6857998"/>
              <a:gd name="connsiteX35" fmla="*/ 346707 w 8114398"/>
              <a:gd name="connsiteY35" fmla="*/ 828989 h 6857998"/>
              <a:gd name="connsiteX36" fmla="*/ 327658 w 8114398"/>
              <a:gd name="connsiteY36" fmla="*/ 828989 h 6857998"/>
              <a:gd name="connsiteX37" fmla="*/ 518158 w 8114398"/>
              <a:gd name="connsiteY37" fmla="*/ 806129 h 6857998"/>
              <a:gd name="connsiteX38" fmla="*/ 538160 w 8114398"/>
              <a:gd name="connsiteY38" fmla="*/ 806129 h 6857998"/>
              <a:gd name="connsiteX39" fmla="*/ 543875 w 8114398"/>
              <a:gd name="connsiteY39" fmla="*/ 810892 h 6857998"/>
              <a:gd name="connsiteX40" fmla="*/ 538160 w 8114398"/>
              <a:gd name="connsiteY40" fmla="*/ 816608 h 6857998"/>
              <a:gd name="connsiteX41" fmla="*/ 518158 w 8114398"/>
              <a:gd name="connsiteY41" fmla="*/ 816608 h 6857998"/>
              <a:gd name="connsiteX42" fmla="*/ 518158 w 8114398"/>
              <a:gd name="connsiteY42" fmla="*/ 806129 h 6857998"/>
              <a:gd name="connsiteX43" fmla="*/ 251457 w 8114398"/>
              <a:gd name="connsiteY43" fmla="*/ 806129 h 6857998"/>
              <a:gd name="connsiteX44" fmla="*/ 275269 w 8114398"/>
              <a:gd name="connsiteY44" fmla="*/ 806129 h 6857998"/>
              <a:gd name="connsiteX45" fmla="*/ 280032 w 8114398"/>
              <a:gd name="connsiteY45" fmla="*/ 810892 h 6857998"/>
              <a:gd name="connsiteX46" fmla="*/ 275269 w 8114398"/>
              <a:gd name="connsiteY46" fmla="*/ 815654 h 6857998"/>
              <a:gd name="connsiteX47" fmla="*/ 251457 w 8114398"/>
              <a:gd name="connsiteY47" fmla="*/ 815654 h 6857998"/>
              <a:gd name="connsiteX48" fmla="*/ 361948 w 8114398"/>
              <a:gd name="connsiteY48" fmla="*/ 793748 h 6857998"/>
              <a:gd name="connsiteX49" fmla="*/ 388618 w 8114398"/>
              <a:gd name="connsiteY49" fmla="*/ 830895 h 6857998"/>
              <a:gd name="connsiteX50" fmla="*/ 388618 w 8114398"/>
              <a:gd name="connsiteY50" fmla="*/ 850898 h 6857998"/>
              <a:gd name="connsiteX51" fmla="*/ 401953 w 8114398"/>
              <a:gd name="connsiteY51" fmla="*/ 850898 h 6857998"/>
              <a:gd name="connsiteX52" fmla="*/ 401953 w 8114398"/>
              <a:gd name="connsiteY52" fmla="*/ 830895 h 6857998"/>
              <a:gd name="connsiteX53" fmla="*/ 428623 w 8114398"/>
              <a:gd name="connsiteY53" fmla="*/ 793748 h 6857998"/>
              <a:gd name="connsiteX54" fmla="*/ 413383 w 8114398"/>
              <a:gd name="connsiteY54" fmla="*/ 793748 h 6857998"/>
              <a:gd name="connsiteX55" fmla="*/ 394333 w 8114398"/>
              <a:gd name="connsiteY55" fmla="*/ 819465 h 6857998"/>
              <a:gd name="connsiteX56" fmla="*/ 377188 w 8114398"/>
              <a:gd name="connsiteY56" fmla="*/ 793748 h 6857998"/>
              <a:gd name="connsiteX57" fmla="*/ 438148 w 8114398"/>
              <a:gd name="connsiteY57" fmla="*/ 793748 h 6857998"/>
              <a:gd name="connsiteX58" fmla="*/ 438148 w 8114398"/>
              <a:gd name="connsiteY58" fmla="*/ 850898 h 6857998"/>
              <a:gd name="connsiteX59" fmla="*/ 495298 w 8114398"/>
              <a:gd name="connsiteY59" fmla="*/ 850898 h 6857998"/>
              <a:gd name="connsiteX60" fmla="*/ 495298 w 8114398"/>
              <a:gd name="connsiteY60" fmla="*/ 839468 h 6857998"/>
              <a:gd name="connsiteX61" fmla="*/ 452435 w 8114398"/>
              <a:gd name="connsiteY61" fmla="*/ 839468 h 6857998"/>
              <a:gd name="connsiteX62" fmla="*/ 452435 w 8114398"/>
              <a:gd name="connsiteY62" fmla="*/ 828038 h 6857998"/>
              <a:gd name="connsiteX63" fmla="*/ 493393 w 8114398"/>
              <a:gd name="connsiteY63" fmla="*/ 828038 h 6857998"/>
              <a:gd name="connsiteX64" fmla="*/ 493393 w 8114398"/>
              <a:gd name="connsiteY64" fmla="*/ 816608 h 6857998"/>
              <a:gd name="connsiteX65" fmla="*/ 452435 w 8114398"/>
              <a:gd name="connsiteY65" fmla="*/ 816608 h 6857998"/>
              <a:gd name="connsiteX66" fmla="*/ 452435 w 8114398"/>
              <a:gd name="connsiteY66" fmla="*/ 807083 h 6857998"/>
              <a:gd name="connsiteX67" fmla="*/ 495298 w 8114398"/>
              <a:gd name="connsiteY67" fmla="*/ 807083 h 6857998"/>
              <a:gd name="connsiteX68" fmla="*/ 495298 w 8114398"/>
              <a:gd name="connsiteY68" fmla="*/ 793748 h 6857998"/>
              <a:gd name="connsiteX69" fmla="*/ 504823 w 8114398"/>
              <a:gd name="connsiteY69" fmla="*/ 793747 h 6857998"/>
              <a:gd name="connsiteX70" fmla="*/ 504823 w 8114398"/>
              <a:gd name="connsiteY70" fmla="*/ 850897 h 6857998"/>
              <a:gd name="connsiteX71" fmla="*/ 518158 w 8114398"/>
              <a:gd name="connsiteY71" fmla="*/ 850897 h 6857998"/>
              <a:gd name="connsiteX72" fmla="*/ 518158 w 8114398"/>
              <a:gd name="connsiteY72" fmla="*/ 828989 h 6857998"/>
              <a:gd name="connsiteX73" fmla="*/ 528635 w 8114398"/>
              <a:gd name="connsiteY73" fmla="*/ 828989 h 6857998"/>
              <a:gd name="connsiteX74" fmla="*/ 545780 w 8114398"/>
              <a:gd name="connsiteY74" fmla="*/ 850897 h 6857998"/>
              <a:gd name="connsiteX75" fmla="*/ 561973 w 8114398"/>
              <a:gd name="connsiteY75" fmla="*/ 850897 h 6857998"/>
              <a:gd name="connsiteX76" fmla="*/ 545780 w 8114398"/>
              <a:gd name="connsiteY76" fmla="*/ 828989 h 6857998"/>
              <a:gd name="connsiteX77" fmla="*/ 558163 w 8114398"/>
              <a:gd name="connsiteY77" fmla="*/ 811844 h 6857998"/>
              <a:gd name="connsiteX78" fmla="*/ 540065 w 8114398"/>
              <a:gd name="connsiteY78" fmla="*/ 793747 h 6857998"/>
              <a:gd name="connsiteX79" fmla="*/ 504823 w 8114398"/>
              <a:gd name="connsiteY79" fmla="*/ 793747 h 6857998"/>
              <a:gd name="connsiteX80" fmla="*/ 331468 w 8114398"/>
              <a:gd name="connsiteY80" fmla="*/ 793747 h 6857998"/>
              <a:gd name="connsiteX81" fmla="*/ 304798 w 8114398"/>
              <a:gd name="connsiteY81" fmla="*/ 850897 h 6857998"/>
              <a:gd name="connsiteX82" fmla="*/ 319084 w 8114398"/>
              <a:gd name="connsiteY82" fmla="*/ 850897 h 6857998"/>
              <a:gd name="connsiteX83" fmla="*/ 321943 w 8114398"/>
              <a:gd name="connsiteY83" fmla="*/ 841372 h 6857998"/>
              <a:gd name="connsiteX84" fmla="*/ 352422 w 8114398"/>
              <a:gd name="connsiteY84" fmla="*/ 841372 h 6857998"/>
              <a:gd name="connsiteX85" fmla="*/ 357184 w 8114398"/>
              <a:gd name="connsiteY85" fmla="*/ 850897 h 6857998"/>
              <a:gd name="connsiteX86" fmla="*/ 371472 w 8114398"/>
              <a:gd name="connsiteY86" fmla="*/ 850897 h 6857998"/>
              <a:gd name="connsiteX87" fmla="*/ 343849 w 8114398"/>
              <a:gd name="connsiteY87" fmla="*/ 793747 h 6857998"/>
              <a:gd name="connsiteX88" fmla="*/ 238122 w 8114398"/>
              <a:gd name="connsiteY88" fmla="*/ 793747 h 6857998"/>
              <a:gd name="connsiteX89" fmla="*/ 238122 w 8114398"/>
              <a:gd name="connsiteY89" fmla="*/ 850897 h 6857998"/>
              <a:gd name="connsiteX90" fmla="*/ 278127 w 8114398"/>
              <a:gd name="connsiteY90" fmla="*/ 850897 h 6857998"/>
              <a:gd name="connsiteX91" fmla="*/ 295272 w 8114398"/>
              <a:gd name="connsiteY91" fmla="*/ 833752 h 6857998"/>
              <a:gd name="connsiteX92" fmla="*/ 289557 w 8114398"/>
              <a:gd name="connsiteY92" fmla="*/ 821369 h 6857998"/>
              <a:gd name="connsiteX93" fmla="*/ 293367 w 8114398"/>
              <a:gd name="connsiteY93" fmla="*/ 810892 h 6857998"/>
              <a:gd name="connsiteX94" fmla="*/ 277174 w 8114398"/>
              <a:gd name="connsiteY94" fmla="*/ 793747 h 6857998"/>
              <a:gd name="connsiteX95" fmla="*/ 238122 w 8114398"/>
              <a:gd name="connsiteY95" fmla="*/ 793747 h 6857998"/>
              <a:gd name="connsiteX96" fmla="*/ 394333 w 8114398"/>
              <a:gd name="connsiteY96" fmla="*/ 741360 h 6857998"/>
              <a:gd name="connsiteX97" fmla="*/ 404810 w 8114398"/>
              <a:gd name="connsiteY97" fmla="*/ 762315 h 6857998"/>
              <a:gd name="connsiteX98" fmla="*/ 384808 w 8114398"/>
              <a:gd name="connsiteY98" fmla="*/ 762315 h 6857998"/>
              <a:gd name="connsiteX99" fmla="*/ 388618 w 8114398"/>
              <a:gd name="connsiteY99" fmla="*/ 727073 h 6857998"/>
              <a:gd name="connsiteX100" fmla="*/ 361948 w 8114398"/>
              <a:gd name="connsiteY100" fmla="*/ 784223 h 6857998"/>
              <a:gd name="connsiteX101" fmla="*/ 375283 w 8114398"/>
              <a:gd name="connsiteY101" fmla="*/ 784223 h 6857998"/>
              <a:gd name="connsiteX102" fmla="*/ 380045 w 8114398"/>
              <a:gd name="connsiteY102" fmla="*/ 774698 h 6857998"/>
              <a:gd name="connsiteX103" fmla="*/ 409573 w 8114398"/>
              <a:gd name="connsiteY103" fmla="*/ 774698 h 6857998"/>
              <a:gd name="connsiteX104" fmla="*/ 414335 w 8114398"/>
              <a:gd name="connsiteY104" fmla="*/ 784223 h 6857998"/>
              <a:gd name="connsiteX105" fmla="*/ 428623 w 8114398"/>
              <a:gd name="connsiteY105" fmla="*/ 784223 h 6857998"/>
              <a:gd name="connsiteX106" fmla="*/ 401000 w 8114398"/>
              <a:gd name="connsiteY106" fmla="*/ 727073 h 6857998"/>
              <a:gd name="connsiteX107" fmla="*/ 384808 w 8114398"/>
              <a:gd name="connsiteY107" fmla="*/ 693735 h 6857998"/>
              <a:gd name="connsiteX108" fmla="*/ 409573 w 8114398"/>
              <a:gd name="connsiteY108" fmla="*/ 693735 h 6857998"/>
              <a:gd name="connsiteX109" fmla="*/ 415288 w 8114398"/>
              <a:gd name="connsiteY109" fmla="*/ 699450 h 6857998"/>
              <a:gd name="connsiteX110" fmla="*/ 409573 w 8114398"/>
              <a:gd name="connsiteY110" fmla="*/ 705165 h 6857998"/>
              <a:gd name="connsiteX111" fmla="*/ 384808 w 8114398"/>
              <a:gd name="connsiteY111" fmla="*/ 705165 h 6857998"/>
              <a:gd name="connsiteX112" fmla="*/ 384808 w 8114398"/>
              <a:gd name="connsiteY112" fmla="*/ 672780 h 6857998"/>
              <a:gd name="connsiteX113" fmla="*/ 408620 w 8114398"/>
              <a:gd name="connsiteY113" fmla="*/ 672780 h 6857998"/>
              <a:gd name="connsiteX114" fmla="*/ 413383 w 8114398"/>
              <a:gd name="connsiteY114" fmla="*/ 677543 h 6857998"/>
              <a:gd name="connsiteX115" fmla="*/ 408620 w 8114398"/>
              <a:gd name="connsiteY115" fmla="*/ 682305 h 6857998"/>
              <a:gd name="connsiteX116" fmla="*/ 384808 w 8114398"/>
              <a:gd name="connsiteY116" fmla="*/ 682305 h 6857998"/>
              <a:gd name="connsiteX117" fmla="*/ 371473 w 8114398"/>
              <a:gd name="connsiteY117" fmla="*/ 660398 h 6857998"/>
              <a:gd name="connsiteX118" fmla="*/ 371473 w 8114398"/>
              <a:gd name="connsiteY118" fmla="*/ 717548 h 6857998"/>
              <a:gd name="connsiteX119" fmla="*/ 411478 w 8114398"/>
              <a:gd name="connsiteY119" fmla="*/ 717548 h 6857998"/>
              <a:gd name="connsiteX120" fmla="*/ 428623 w 8114398"/>
              <a:gd name="connsiteY120" fmla="*/ 700403 h 6857998"/>
              <a:gd name="connsiteX121" fmla="*/ 422908 w 8114398"/>
              <a:gd name="connsiteY121" fmla="*/ 688020 h 6857998"/>
              <a:gd name="connsiteX122" fmla="*/ 427670 w 8114398"/>
              <a:gd name="connsiteY122" fmla="*/ 676590 h 6857998"/>
              <a:gd name="connsiteX123" fmla="*/ 410525 w 8114398"/>
              <a:gd name="connsiteY123" fmla="*/ 660398 h 6857998"/>
              <a:gd name="connsiteX124" fmla="*/ 371473 w 8114398"/>
              <a:gd name="connsiteY124" fmla="*/ 660398 h 6857998"/>
              <a:gd name="connsiteX125" fmla="*/ 400049 w 8114398"/>
              <a:gd name="connsiteY125" fmla="*/ 644683 h 6857998"/>
              <a:gd name="connsiteX126" fmla="*/ 575309 w 8114398"/>
              <a:gd name="connsiteY126" fmla="*/ 822800 h 6857998"/>
              <a:gd name="connsiteX127" fmla="*/ 400049 w 8114398"/>
              <a:gd name="connsiteY127" fmla="*/ 996155 h 6857998"/>
              <a:gd name="connsiteX128" fmla="*/ 224789 w 8114398"/>
              <a:gd name="connsiteY128" fmla="*/ 819943 h 6857998"/>
              <a:gd name="connsiteX129" fmla="*/ 400049 w 8114398"/>
              <a:gd name="connsiteY129" fmla="*/ 644683 h 6857998"/>
              <a:gd name="connsiteX130" fmla="*/ 400049 w 8114398"/>
              <a:gd name="connsiteY130" fmla="*/ 619918 h 6857998"/>
              <a:gd name="connsiteX131" fmla="*/ 200024 w 8114398"/>
              <a:gd name="connsiteY131" fmla="*/ 819943 h 6857998"/>
              <a:gd name="connsiteX132" fmla="*/ 400049 w 8114398"/>
              <a:gd name="connsiteY132" fmla="*/ 1019968 h 6857998"/>
              <a:gd name="connsiteX133" fmla="*/ 600074 w 8114398"/>
              <a:gd name="connsiteY133" fmla="*/ 819943 h 6857998"/>
              <a:gd name="connsiteX134" fmla="*/ 400049 w 8114398"/>
              <a:gd name="connsiteY134" fmla="*/ 619918 h 6857998"/>
              <a:gd name="connsiteX135" fmla="*/ 6285641 w 8114398"/>
              <a:gd name="connsiteY135" fmla="*/ 0 h 6857998"/>
              <a:gd name="connsiteX136" fmla="*/ 8114398 w 8114398"/>
              <a:gd name="connsiteY136" fmla="*/ 0 h 6857998"/>
              <a:gd name="connsiteX137" fmla="*/ 8114398 w 8114398"/>
              <a:gd name="connsiteY137" fmla="*/ 6857998 h 6857998"/>
              <a:gd name="connsiteX138" fmla="*/ 3780054 w 8114398"/>
              <a:gd name="connsiteY138" fmla="*/ 6857998 h 6857998"/>
              <a:gd name="connsiteX139" fmla="*/ 0 w 8114398"/>
              <a:gd name="connsiteY139" fmla="*/ 0 h 6857998"/>
              <a:gd name="connsiteX140" fmla="*/ 6266477 w 8114398"/>
              <a:gd name="connsiteY140" fmla="*/ 0 h 6857998"/>
              <a:gd name="connsiteX141" fmla="*/ 3760890 w 8114398"/>
              <a:gd name="connsiteY141" fmla="*/ 6857998 h 6857998"/>
              <a:gd name="connsiteX142" fmla="*/ 0 w 8114398"/>
              <a:gd name="connsiteY142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</a:cxnLst>
            <a:rect l="l" t="t" r="r" b="b"/>
            <a:pathLst>
              <a:path w="8114398" h="6857998">
                <a:moveTo>
                  <a:pt x="385599" y="941860"/>
                </a:moveTo>
                <a:cubicBezTo>
                  <a:pt x="385599" y="941860"/>
                  <a:pt x="385599" y="941860"/>
                  <a:pt x="405601" y="941860"/>
                </a:cubicBezTo>
                <a:cubicBezTo>
                  <a:pt x="408459" y="941860"/>
                  <a:pt x="411316" y="944718"/>
                  <a:pt x="411316" y="946623"/>
                </a:cubicBezTo>
                <a:cubicBezTo>
                  <a:pt x="411316" y="950433"/>
                  <a:pt x="408459" y="952338"/>
                  <a:pt x="405601" y="952338"/>
                </a:cubicBezTo>
                <a:cubicBezTo>
                  <a:pt x="405601" y="952338"/>
                  <a:pt x="405601" y="952338"/>
                  <a:pt x="385599" y="952338"/>
                </a:cubicBezTo>
                <a:cubicBezTo>
                  <a:pt x="385599" y="952338"/>
                  <a:pt x="385599" y="952338"/>
                  <a:pt x="385599" y="941860"/>
                </a:cubicBezTo>
                <a:close/>
                <a:moveTo>
                  <a:pt x="372264" y="929478"/>
                </a:moveTo>
                <a:cubicBezTo>
                  <a:pt x="372264" y="929478"/>
                  <a:pt x="372264" y="929478"/>
                  <a:pt x="372264" y="986628"/>
                </a:cubicBezTo>
                <a:cubicBezTo>
                  <a:pt x="372264" y="986628"/>
                  <a:pt x="372264" y="986628"/>
                  <a:pt x="385599" y="986628"/>
                </a:cubicBezTo>
                <a:cubicBezTo>
                  <a:pt x="385599" y="986628"/>
                  <a:pt x="385599" y="986628"/>
                  <a:pt x="385599" y="964720"/>
                </a:cubicBezTo>
                <a:cubicBezTo>
                  <a:pt x="385599" y="964720"/>
                  <a:pt x="385599" y="964720"/>
                  <a:pt x="396076" y="964720"/>
                </a:cubicBezTo>
                <a:lnTo>
                  <a:pt x="413221" y="986628"/>
                </a:lnTo>
                <a:cubicBezTo>
                  <a:pt x="413221" y="986628"/>
                  <a:pt x="413221" y="986628"/>
                  <a:pt x="429414" y="986628"/>
                </a:cubicBezTo>
                <a:cubicBezTo>
                  <a:pt x="429414" y="986628"/>
                  <a:pt x="429414" y="986628"/>
                  <a:pt x="413221" y="964720"/>
                </a:cubicBezTo>
                <a:cubicBezTo>
                  <a:pt x="419889" y="962815"/>
                  <a:pt x="425604" y="956148"/>
                  <a:pt x="425604" y="947575"/>
                </a:cubicBezTo>
                <a:cubicBezTo>
                  <a:pt x="425604" y="937098"/>
                  <a:pt x="417031" y="929478"/>
                  <a:pt x="407506" y="929478"/>
                </a:cubicBezTo>
                <a:cubicBezTo>
                  <a:pt x="407506" y="929478"/>
                  <a:pt x="407506" y="929478"/>
                  <a:pt x="372264" y="929478"/>
                </a:cubicBezTo>
                <a:close/>
                <a:moveTo>
                  <a:pt x="371472" y="860422"/>
                </a:moveTo>
                <a:lnTo>
                  <a:pt x="371472" y="917572"/>
                </a:lnTo>
                <a:lnTo>
                  <a:pt x="419097" y="917572"/>
                </a:lnTo>
                <a:lnTo>
                  <a:pt x="419097" y="906142"/>
                </a:lnTo>
                <a:lnTo>
                  <a:pt x="383854" y="906142"/>
                </a:lnTo>
                <a:lnTo>
                  <a:pt x="383854" y="893759"/>
                </a:lnTo>
                <a:lnTo>
                  <a:pt x="417192" y="893759"/>
                </a:lnTo>
                <a:lnTo>
                  <a:pt x="417192" y="882329"/>
                </a:lnTo>
                <a:lnTo>
                  <a:pt x="383854" y="882329"/>
                </a:lnTo>
                <a:lnTo>
                  <a:pt x="383854" y="871852"/>
                </a:lnTo>
                <a:lnTo>
                  <a:pt x="419097" y="871852"/>
                </a:lnTo>
                <a:lnTo>
                  <a:pt x="419097" y="860422"/>
                </a:lnTo>
                <a:close/>
                <a:moveTo>
                  <a:pt x="251457" y="827084"/>
                </a:moveTo>
                <a:cubicBezTo>
                  <a:pt x="251457" y="827084"/>
                  <a:pt x="251457" y="827084"/>
                  <a:pt x="276222" y="827084"/>
                </a:cubicBezTo>
                <a:cubicBezTo>
                  <a:pt x="279079" y="827084"/>
                  <a:pt x="281937" y="829942"/>
                  <a:pt x="281937" y="832799"/>
                </a:cubicBezTo>
                <a:cubicBezTo>
                  <a:pt x="281937" y="836609"/>
                  <a:pt x="279079" y="838514"/>
                  <a:pt x="276222" y="838514"/>
                </a:cubicBezTo>
                <a:cubicBezTo>
                  <a:pt x="276222" y="838514"/>
                  <a:pt x="276222" y="838514"/>
                  <a:pt x="251457" y="838514"/>
                </a:cubicBezTo>
                <a:close/>
                <a:moveTo>
                  <a:pt x="337182" y="808034"/>
                </a:moveTo>
                <a:lnTo>
                  <a:pt x="346707" y="828989"/>
                </a:lnTo>
                <a:lnTo>
                  <a:pt x="327658" y="828989"/>
                </a:lnTo>
                <a:close/>
                <a:moveTo>
                  <a:pt x="518158" y="806129"/>
                </a:moveTo>
                <a:cubicBezTo>
                  <a:pt x="518158" y="806129"/>
                  <a:pt x="518158" y="806129"/>
                  <a:pt x="538160" y="806129"/>
                </a:cubicBezTo>
                <a:cubicBezTo>
                  <a:pt x="541018" y="806129"/>
                  <a:pt x="543875" y="808987"/>
                  <a:pt x="543875" y="810892"/>
                </a:cubicBezTo>
                <a:cubicBezTo>
                  <a:pt x="543875" y="814702"/>
                  <a:pt x="541018" y="816608"/>
                  <a:pt x="538160" y="816608"/>
                </a:cubicBezTo>
                <a:cubicBezTo>
                  <a:pt x="538160" y="816608"/>
                  <a:pt x="538160" y="816608"/>
                  <a:pt x="518158" y="816608"/>
                </a:cubicBezTo>
                <a:cubicBezTo>
                  <a:pt x="518158" y="816608"/>
                  <a:pt x="518158" y="816608"/>
                  <a:pt x="518158" y="806129"/>
                </a:cubicBezTo>
                <a:close/>
                <a:moveTo>
                  <a:pt x="251457" y="806129"/>
                </a:moveTo>
                <a:cubicBezTo>
                  <a:pt x="251457" y="806129"/>
                  <a:pt x="251457" y="806129"/>
                  <a:pt x="275269" y="806129"/>
                </a:cubicBezTo>
                <a:cubicBezTo>
                  <a:pt x="278127" y="806129"/>
                  <a:pt x="280032" y="808034"/>
                  <a:pt x="280032" y="810892"/>
                </a:cubicBezTo>
                <a:cubicBezTo>
                  <a:pt x="280032" y="813749"/>
                  <a:pt x="278127" y="815654"/>
                  <a:pt x="275269" y="815654"/>
                </a:cubicBezTo>
                <a:cubicBezTo>
                  <a:pt x="275269" y="815654"/>
                  <a:pt x="275269" y="815654"/>
                  <a:pt x="251457" y="815654"/>
                </a:cubicBezTo>
                <a:close/>
                <a:moveTo>
                  <a:pt x="361948" y="793748"/>
                </a:moveTo>
                <a:lnTo>
                  <a:pt x="388618" y="830895"/>
                </a:lnTo>
                <a:lnTo>
                  <a:pt x="388618" y="850898"/>
                </a:lnTo>
                <a:lnTo>
                  <a:pt x="401953" y="850898"/>
                </a:lnTo>
                <a:lnTo>
                  <a:pt x="401953" y="830895"/>
                </a:lnTo>
                <a:lnTo>
                  <a:pt x="428623" y="793748"/>
                </a:lnTo>
                <a:lnTo>
                  <a:pt x="413383" y="793748"/>
                </a:lnTo>
                <a:lnTo>
                  <a:pt x="394333" y="819465"/>
                </a:lnTo>
                <a:lnTo>
                  <a:pt x="377188" y="793748"/>
                </a:lnTo>
                <a:close/>
                <a:moveTo>
                  <a:pt x="438148" y="793748"/>
                </a:moveTo>
                <a:lnTo>
                  <a:pt x="438148" y="850898"/>
                </a:lnTo>
                <a:lnTo>
                  <a:pt x="495298" y="850898"/>
                </a:lnTo>
                <a:lnTo>
                  <a:pt x="495298" y="839468"/>
                </a:lnTo>
                <a:lnTo>
                  <a:pt x="452435" y="839468"/>
                </a:lnTo>
                <a:lnTo>
                  <a:pt x="452435" y="828038"/>
                </a:lnTo>
                <a:lnTo>
                  <a:pt x="493393" y="828038"/>
                </a:lnTo>
                <a:lnTo>
                  <a:pt x="493393" y="816608"/>
                </a:lnTo>
                <a:lnTo>
                  <a:pt x="452435" y="816608"/>
                </a:lnTo>
                <a:lnTo>
                  <a:pt x="452435" y="807083"/>
                </a:lnTo>
                <a:lnTo>
                  <a:pt x="495298" y="807083"/>
                </a:lnTo>
                <a:lnTo>
                  <a:pt x="495298" y="793748"/>
                </a:lnTo>
                <a:close/>
                <a:moveTo>
                  <a:pt x="504823" y="793747"/>
                </a:moveTo>
                <a:cubicBezTo>
                  <a:pt x="504823" y="793747"/>
                  <a:pt x="504823" y="793747"/>
                  <a:pt x="504823" y="850897"/>
                </a:cubicBezTo>
                <a:cubicBezTo>
                  <a:pt x="504823" y="850897"/>
                  <a:pt x="504823" y="850897"/>
                  <a:pt x="518158" y="850897"/>
                </a:cubicBezTo>
                <a:cubicBezTo>
                  <a:pt x="518158" y="850897"/>
                  <a:pt x="518158" y="850897"/>
                  <a:pt x="518158" y="828989"/>
                </a:cubicBezTo>
                <a:cubicBezTo>
                  <a:pt x="518158" y="828989"/>
                  <a:pt x="518158" y="828989"/>
                  <a:pt x="528635" y="828989"/>
                </a:cubicBezTo>
                <a:lnTo>
                  <a:pt x="545780" y="850897"/>
                </a:lnTo>
                <a:cubicBezTo>
                  <a:pt x="545780" y="850897"/>
                  <a:pt x="545780" y="850897"/>
                  <a:pt x="561973" y="850897"/>
                </a:cubicBezTo>
                <a:cubicBezTo>
                  <a:pt x="561973" y="850897"/>
                  <a:pt x="561973" y="850897"/>
                  <a:pt x="545780" y="828989"/>
                </a:cubicBezTo>
                <a:cubicBezTo>
                  <a:pt x="552448" y="827084"/>
                  <a:pt x="558163" y="820417"/>
                  <a:pt x="558163" y="811844"/>
                </a:cubicBezTo>
                <a:cubicBezTo>
                  <a:pt x="558163" y="801368"/>
                  <a:pt x="549590" y="793747"/>
                  <a:pt x="540065" y="793747"/>
                </a:cubicBezTo>
                <a:cubicBezTo>
                  <a:pt x="540065" y="793747"/>
                  <a:pt x="540065" y="793747"/>
                  <a:pt x="504823" y="793747"/>
                </a:cubicBezTo>
                <a:close/>
                <a:moveTo>
                  <a:pt x="331468" y="793747"/>
                </a:moveTo>
                <a:lnTo>
                  <a:pt x="304798" y="850897"/>
                </a:lnTo>
                <a:lnTo>
                  <a:pt x="319084" y="850897"/>
                </a:lnTo>
                <a:lnTo>
                  <a:pt x="321943" y="841372"/>
                </a:lnTo>
                <a:lnTo>
                  <a:pt x="352422" y="841372"/>
                </a:lnTo>
                <a:lnTo>
                  <a:pt x="357184" y="850897"/>
                </a:lnTo>
                <a:lnTo>
                  <a:pt x="371472" y="850897"/>
                </a:lnTo>
                <a:lnTo>
                  <a:pt x="343849" y="793747"/>
                </a:lnTo>
                <a:close/>
                <a:moveTo>
                  <a:pt x="238122" y="793747"/>
                </a:moveTo>
                <a:cubicBezTo>
                  <a:pt x="238122" y="793747"/>
                  <a:pt x="238122" y="793747"/>
                  <a:pt x="238122" y="850897"/>
                </a:cubicBezTo>
                <a:cubicBezTo>
                  <a:pt x="238122" y="850897"/>
                  <a:pt x="238122" y="850897"/>
                  <a:pt x="278127" y="850897"/>
                </a:cubicBezTo>
                <a:cubicBezTo>
                  <a:pt x="287652" y="850897"/>
                  <a:pt x="295272" y="843277"/>
                  <a:pt x="295272" y="833752"/>
                </a:cubicBezTo>
                <a:cubicBezTo>
                  <a:pt x="295272" y="828989"/>
                  <a:pt x="293367" y="824227"/>
                  <a:pt x="289557" y="821369"/>
                </a:cubicBezTo>
                <a:cubicBezTo>
                  <a:pt x="292414" y="818512"/>
                  <a:pt x="293367" y="814702"/>
                  <a:pt x="293367" y="810892"/>
                </a:cubicBezTo>
                <a:cubicBezTo>
                  <a:pt x="293367" y="801367"/>
                  <a:pt x="286699" y="793747"/>
                  <a:pt x="277174" y="793747"/>
                </a:cubicBezTo>
                <a:cubicBezTo>
                  <a:pt x="277174" y="793747"/>
                  <a:pt x="277174" y="793747"/>
                  <a:pt x="238122" y="793747"/>
                </a:cubicBezTo>
                <a:close/>
                <a:moveTo>
                  <a:pt x="394333" y="741360"/>
                </a:moveTo>
                <a:lnTo>
                  <a:pt x="404810" y="762315"/>
                </a:lnTo>
                <a:lnTo>
                  <a:pt x="384808" y="762315"/>
                </a:lnTo>
                <a:close/>
                <a:moveTo>
                  <a:pt x="388618" y="727073"/>
                </a:moveTo>
                <a:lnTo>
                  <a:pt x="361948" y="784223"/>
                </a:lnTo>
                <a:lnTo>
                  <a:pt x="375283" y="784223"/>
                </a:lnTo>
                <a:lnTo>
                  <a:pt x="380045" y="774698"/>
                </a:lnTo>
                <a:lnTo>
                  <a:pt x="409573" y="774698"/>
                </a:lnTo>
                <a:lnTo>
                  <a:pt x="414335" y="784223"/>
                </a:lnTo>
                <a:lnTo>
                  <a:pt x="428623" y="784223"/>
                </a:lnTo>
                <a:lnTo>
                  <a:pt x="401000" y="727073"/>
                </a:lnTo>
                <a:close/>
                <a:moveTo>
                  <a:pt x="384808" y="693735"/>
                </a:moveTo>
                <a:cubicBezTo>
                  <a:pt x="384808" y="693735"/>
                  <a:pt x="384808" y="693735"/>
                  <a:pt x="409573" y="693735"/>
                </a:cubicBezTo>
                <a:cubicBezTo>
                  <a:pt x="412430" y="693735"/>
                  <a:pt x="415288" y="696593"/>
                  <a:pt x="415288" y="699450"/>
                </a:cubicBezTo>
                <a:cubicBezTo>
                  <a:pt x="415288" y="703260"/>
                  <a:pt x="412430" y="705165"/>
                  <a:pt x="409573" y="705165"/>
                </a:cubicBezTo>
                <a:cubicBezTo>
                  <a:pt x="409573" y="705165"/>
                  <a:pt x="409573" y="705165"/>
                  <a:pt x="384808" y="705165"/>
                </a:cubicBezTo>
                <a:close/>
                <a:moveTo>
                  <a:pt x="384808" y="672780"/>
                </a:moveTo>
                <a:cubicBezTo>
                  <a:pt x="384808" y="672780"/>
                  <a:pt x="384808" y="672780"/>
                  <a:pt x="408620" y="672780"/>
                </a:cubicBezTo>
                <a:cubicBezTo>
                  <a:pt x="411478" y="672780"/>
                  <a:pt x="413383" y="674685"/>
                  <a:pt x="413383" y="677543"/>
                </a:cubicBezTo>
                <a:cubicBezTo>
                  <a:pt x="413383" y="680400"/>
                  <a:pt x="411478" y="682305"/>
                  <a:pt x="408620" y="682305"/>
                </a:cubicBezTo>
                <a:cubicBezTo>
                  <a:pt x="408620" y="682305"/>
                  <a:pt x="408620" y="682305"/>
                  <a:pt x="384808" y="682305"/>
                </a:cubicBezTo>
                <a:close/>
                <a:moveTo>
                  <a:pt x="371473" y="660398"/>
                </a:moveTo>
                <a:cubicBezTo>
                  <a:pt x="371473" y="660398"/>
                  <a:pt x="371473" y="660398"/>
                  <a:pt x="371473" y="717548"/>
                </a:cubicBezTo>
                <a:cubicBezTo>
                  <a:pt x="371473" y="717548"/>
                  <a:pt x="371473" y="717548"/>
                  <a:pt x="411478" y="717548"/>
                </a:cubicBezTo>
                <a:cubicBezTo>
                  <a:pt x="421003" y="717548"/>
                  <a:pt x="428623" y="709928"/>
                  <a:pt x="428623" y="700403"/>
                </a:cubicBezTo>
                <a:cubicBezTo>
                  <a:pt x="428623" y="695640"/>
                  <a:pt x="426718" y="690878"/>
                  <a:pt x="422908" y="688020"/>
                </a:cubicBezTo>
                <a:cubicBezTo>
                  <a:pt x="425765" y="685163"/>
                  <a:pt x="427670" y="681353"/>
                  <a:pt x="427670" y="676590"/>
                </a:cubicBezTo>
                <a:cubicBezTo>
                  <a:pt x="427670" y="668018"/>
                  <a:pt x="420050" y="660398"/>
                  <a:pt x="410525" y="660398"/>
                </a:cubicBezTo>
                <a:cubicBezTo>
                  <a:pt x="410525" y="660398"/>
                  <a:pt x="410525" y="660398"/>
                  <a:pt x="371473" y="660398"/>
                </a:cubicBezTo>
                <a:close/>
                <a:moveTo>
                  <a:pt x="400049" y="644683"/>
                </a:moveTo>
                <a:cubicBezTo>
                  <a:pt x="500061" y="644683"/>
                  <a:pt x="575309" y="721835"/>
                  <a:pt x="575309" y="822800"/>
                </a:cubicBezTo>
                <a:cubicBezTo>
                  <a:pt x="575309" y="922813"/>
                  <a:pt x="500061" y="996155"/>
                  <a:pt x="400049" y="996155"/>
                </a:cubicBezTo>
                <a:cubicBezTo>
                  <a:pt x="300036" y="996155"/>
                  <a:pt x="224789" y="919955"/>
                  <a:pt x="224789" y="819943"/>
                </a:cubicBezTo>
                <a:cubicBezTo>
                  <a:pt x="224789" y="719930"/>
                  <a:pt x="300036" y="644683"/>
                  <a:pt x="400049" y="644683"/>
                </a:cubicBezTo>
                <a:close/>
                <a:moveTo>
                  <a:pt x="400049" y="619918"/>
                </a:moveTo>
                <a:cubicBezTo>
                  <a:pt x="289559" y="619918"/>
                  <a:pt x="200024" y="709453"/>
                  <a:pt x="200024" y="819943"/>
                </a:cubicBezTo>
                <a:cubicBezTo>
                  <a:pt x="200024" y="930433"/>
                  <a:pt x="289559" y="1019968"/>
                  <a:pt x="400049" y="1019968"/>
                </a:cubicBezTo>
                <a:cubicBezTo>
                  <a:pt x="510539" y="1019968"/>
                  <a:pt x="600074" y="930433"/>
                  <a:pt x="600074" y="819943"/>
                </a:cubicBezTo>
                <a:cubicBezTo>
                  <a:pt x="600074" y="709453"/>
                  <a:pt x="510539" y="619918"/>
                  <a:pt x="400049" y="619918"/>
                </a:cubicBezTo>
                <a:close/>
                <a:moveTo>
                  <a:pt x="6285641" y="0"/>
                </a:moveTo>
                <a:lnTo>
                  <a:pt x="8114398" y="0"/>
                </a:lnTo>
                <a:lnTo>
                  <a:pt x="8114398" y="6857998"/>
                </a:lnTo>
                <a:lnTo>
                  <a:pt x="3780054" y="6857998"/>
                </a:lnTo>
                <a:close/>
                <a:moveTo>
                  <a:pt x="0" y="0"/>
                </a:moveTo>
                <a:lnTo>
                  <a:pt x="6266477" y="0"/>
                </a:lnTo>
                <a:lnTo>
                  <a:pt x="3760890" y="6857998"/>
                </a:lnTo>
                <a:lnTo>
                  <a:pt x="0" y="6857998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tIns="684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72F8C671-FCED-47EE-98C9-6A63338A68C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3252810" y="0"/>
            <a:ext cx="5891190" cy="5143500"/>
          </a:xfrm>
          <a:custGeom>
            <a:avLst/>
            <a:gdLst>
              <a:gd name="connsiteX0" fmla="*/ 1945592 w 7853898"/>
              <a:gd name="connsiteY0" fmla="*/ 0 h 6858000"/>
              <a:gd name="connsiteX1" fmla="*/ 3777198 w 7853898"/>
              <a:gd name="connsiteY1" fmla="*/ 0 h 6858000"/>
              <a:gd name="connsiteX2" fmla="*/ 4658260 w 7853898"/>
              <a:gd name="connsiteY2" fmla="*/ 0 h 6858000"/>
              <a:gd name="connsiteX3" fmla="*/ 7853898 w 7853898"/>
              <a:gd name="connsiteY3" fmla="*/ 0 h 6858000"/>
              <a:gd name="connsiteX4" fmla="*/ 7853898 w 7853898"/>
              <a:gd name="connsiteY4" fmla="*/ 6858000 h 6858000"/>
              <a:gd name="connsiteX5" fmla="*/ 4658260 w 7853898"/>
              <a:gd name="connsiteY5" fmla="*/ 6858000 h 6858000"/>
              <a:gd name="connsiteX6" fmla="*/ 3777198 w 7853898"/>
              <a:gd name="connsiteY6" fmla="*/ 6858000 h 6858000"/>
              <a:gd name="connsiteX7" fmla="*/ 1327085 w 7853898"/>
              <a:gd name="connsiteY7" fmla="*/ 6858000 h 6858000"/>
              <a:gd name="connsiteX8" fmla="*/ 0 w 7853898"/>
              <a:gd name="connsiteY8" fmla="*/ 6858000 h 6858000"/>
              <a:gd name="connsiteX9" fmla="*/ 631152 w 7853898"/>
              <a:gd name="connsiteY9" fmla="*/ 3597203 h 6858000"/>
              <a:gd name="connsiteX10" fmla="*/ 1327085 w 7853898"/>
              <a:gd name="connsiteY10" fmla="*/ 0 h 6858000"/>
              <a:gd name="connsiteX11" fmla="*/ 1926428 w 7853898"/>
              <a:gd name="connsiteY11" fmla="*/ 0 h 6858000"/>
              <a:gd name="connsiteX12" fmla="*/ 652736 w 7853898"/>
              <a:gd name="connsiteY12" fmla="*/ 3485687 h 6858000"/>
              <a:gd name="connsiteX13" fmla="*/ 1327085 w 7853898"/>
              <a:gd name="connsiteY13" fmla="*/ 17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7853898" h="6858000">
                <a:moveTo>
                  <a:pt x="1945592" y="0"/>
                </a:moveTo>
                <a:lnTo>
                  <a:pt x="3777198" y="0"/>
                </a:lnTo>
                <a:lnTo>
                  <a:pt x="4658260" y="0"/>
                </a:lnTo>
                <a:lnTo>
                  <a:pt x="7853898" y="0"/>
                </a:lnTo>
                <a:lnTo>
                  <a:pt x="7853898" y="6858000"/>
                </a:lnTo>
                <a:lnTo>
                  <a:pt x="4658260" y="6858000"/>
                </a:lnTo>
                <a:lnTo>
                  <a:pt x="3777198" y="6858000"/>
                </a:lnTo>
                <a:lnTo>
                  <a:pt x="1327085" y="6858000"/>
                </a:lnTo>
                <a:lnTo>
                  <a:pt x="0" y="6858000"/>
                </a:lnTo>
                <a:lnTo>
                  <a:pt x="631152" y="3597203"/>
                </a:lnTo>
                <a:close/>
                <a:moveTo>
                  <a:pt x="1327085" y="0"/>
                </a:moveTo>
                <a:lnTo>
                  <a:pt x="1926428" y="0"/>
                </a:lnTo>
                <a:lnTo>
                  <a:pt x="652736" y="3485687"/>
                </a:lnTo>
                <a:lnTo>
                  <a:pt x="1327085" y="1712"/>
                </a:lnTo>
                <a:close/>
              </a:path>
            </a:pathLst>
          </a:custGeom>
          <a:gradFill>
            <a:gsLst>
              <a:gs pos="0">
                <a:srgbClr val="443247"/>
              </a:gs>
              <a:gs pos="54000">
                <a:srgbClr val="443247"/>
              </a:gs>
              <a:gs pos="100000">
                <a:srgbClr val="443247">
                  <a:alpha val="90000"/>
                </a:srgbClr>
              </a:gs>
            </a:gsLst>
            <a:lin ang="10800000" scaled="0"/>
          </a:gra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736461" y="136454"/>
            <a:ext cx="3914355" cy="64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cxnSp>
        <p:nvCxnSpPr>
          <p:cNvPr id="20" name="Straight Connector 19"/>
          <p:cNvCxnSpPr/>
          <p:nvPr userDrawn="1"/>
        </p:nvCxnSpPr>
        <p:spPr bwMode="blackGray">
          <a:xfrm flipV="1">
            <a:off x="2826260" y="0"/>
            <a:ext cx="1880500" cy="51435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blackGray"/>
        <p:txBody>
          <a:bodyPr/>
          <a:lstStyle/>
          <a:p>
            <a:fld id="{AC5DFCB7-86C0-425A-81FA-BEF2309EB834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MIO_VALID_LAYOUT" hidden="1">
            <a:extLst>
              <a:ext uri="{FF2B5EF4-FFF2-40B4-BE49-F238E27FC236}">
                <a16:creationId xmlns:a16="http://schemas.microsoft.com/office/drawing/2014/main" id="{31467912-1545-4993-9077-17D9670FB8B9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2B4303-08B3-4093-B75A-28E14949D5F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6461" y="853724"/>
            <a:ext cx="3917107" cy="189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7pPr>
            <a:lvl8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8pPr>
            <a:lvl9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C13EF898-0A1F-40A1-B561-71B65BA89D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Gray">
          <a:xfrm>
            <a:off x="4920343" y="1299563"/>
            <a:ext cx="3915510" cy="35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025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 marL="405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3pPr>
            <a:lvl4pPr marL="6075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4pPr>
            <a:lvl5pPr marL="810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5pPr>
            <a:lvl6pPr marL="810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6pPr>
            <a:lvl7pPr marL="810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7pPr>
            <a:lvl8pPr marL="810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8pPr>
            <a:lvl9pPr marL="810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6339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&amp; Tex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8">
            <a:extLst>
              <a:ext uri="{FF2B5EF4-FFF2-40B4-BE49-F238E27FC236}">
                <a16:creationId xmlns:a16="http://schemas.microsoft.com/office/drawing/2014/main" id="{98419BE6-743D-4D44-8ED2-03F8A534FA0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blackGray">
          <a:xfrm>
            <a:off x="2" y="2"/>
            <a:ext cx="6086591" cy="5143499"/>
          </a:xfrm>
          <a:custGeom>
            <a:avLst/>
            <a:gdLst>
              <a:gd name="connsiteX0" fmla="*/ 385599 w 8114398"/>
              <a:gd name="connsiteY0" fmla="*/ 941860 h 6857998"/>
              <a:gd name="connsiteX1" fmla="*/ 405601 w 8114398"/>
              <a:gd name="connsiteY1" fmla="*/ 941860 h 6857998"/>
              <a:gd name="connsiteX2" fmla="*/ 411316 w 8114398"/>
              <a:gd name="connsiteY2" fmla="*/ 946623 h 6857998"/>
              <a:gd name="connsiteX3" fmla="*/ 405601 w 8114398"/>
              <a:gd name="connsiteY3" fmla="*/ 952338 h 6857998"/>
              <a:gd name="connsiteX4" fmla="*/ 385599 w 8114398"/>
              <a:gd name="connsiteY4" fmla="*/ 952338 h 6857998"/>
              <a:gd name="connsiteX5" fmla="*/ 385599 w 8114398"/>
              <a:gd name="connsiteY5" fmla="*/ 941860 h 6857998"/>
              <a:gd name="connsiteX6" fmla="*/ 372264 w 8114398"/>
              <a:gd name="connsiteY6" fmla="*/ 929478 h 6857998"/>
              <a:gd name="connsiteX7" fmla="*/ 372264 w 8114398"/>
              <a:gd name="connsiteY7" fmla="*/ 986628 h 6857998"/>
              <a:gd name="connsiteX8" fmla="*/ 385599 w 8114398"/>
              <a:gd name="connsiteY8" fmla="*/ 986628 h 6857998"/>
              <a:gd name="connsiteX9" fmla="*/ 385599 w 8114398"/>
              <a:gd name="connsiteY9" fmla="*/ 964720 h 6857998"/>
              <a:gd name="connsiteX10" fmla="*/ 396076 w 8114398"/>
              <a:gd name="connsiteY10" fmla="*/ 964720 h 6857998"/>
              <a:gd name="connsiteX11" fmla="*/ 413221 w 8114398"/>
              <a:gd name="connsiteY11" fmla="*/ 986628 h 6857998"/>
              <a:gd name="connsiteX12" fmla="*/ 429414 w 8114398"/>
              <a:gd name="connsiteY12" fmla="*/ 986628 h 6857998"/>
              <a:gd name="connsiteX13" fmla="*/ 413221 w 8114398"/>
              <a:gd name="connsiteY13" fmla="*/ 964720 h 6857998"/>
              <a:gd name="connsiteX14" fmla="*/ 425604 w 8114398"/>
              <a:gd name="connsiteY14" fmla="*/ 947575 h 6857998"/>
              <a:gd name="connsiteX15" fmla="*/ 407506 w 8114398"/>
              <a:gd name="connsiteY15" fmla="*/ 929478 h 6857998"/>
              <a:gd name="connsiteX16" fmla="*/ 372264 w 8114398"/>
              <a:gd name="connsiteY16" fmla="*/ 929478 h 6857998"/>
              <a:gd name="connsiteX17" fmla="*/ 371472 w 8114398"/>
              <a:gd name="connsiteY17" fmla="*/ 860422 h 6857998"/>
              <a:gd name="connsiteX18" fmla="*/ 371472 w 8114398"/>
              <a:gd name="connsiteY18" fmla="*/ 917572 h 6857998"/>
              <a:gd name="connsiteX19" fmla="*/ 419097 w 8114398"/>
              <a:gd name="connsiteY19" fmla="*/ 917572 h 6857998"/>
              <a:gd name="connsiteX20" fmla="*/ 419097 w 8114398"/>
              <a:gd name="connsiteY20" fmla="*/ 906142 h 6857998"/>
              <a:gd name="connsiteX21" fmla="*/ 383854 w 8114398"/>
              <a:gd name="connsiteY21" fmla="*/ 906142 h 6857998"/>
              <a:gd name="connsiteX22" fmla="*/ 383854 w 8114398"/>
              <a:gd name="connsiteY22" fmla="*/ 893759 h 6857998"/>
              <a:gd name="connsiteX23" fmla="*/ 417192 w 8114398"/>
              <a:gd name="connsiteY23" fmla="*/ 893759 h 6857998"/>
              <a:gd name="connsiteX24" fmla="*/ 417192 w 8114398"/>
              <a:gd name="connsiteY24" fmla="*/ 882329 h 6857998"/>
              <a:gd name="connsiteX25" fmla="*/ 383854 w 8114398"/>
              <a:gd name="connsiteY25" fmla="*/ 882329 h 6857998"/>
              <a:gd name="connsiteX26" fmla="*/ 383854 w 8114398"/>
              <a:gd name="connsiteY26" fmla="*/ 871852 h 6857998"/>
              <a:gd name="connsiteX27" fmla="*/ 419097 w 8114398"/>
              <a:gd name="connsiteY27" fmla="*/ 871852 h 6857998"/>
              <a:gd name="connsiteX28" fmla="*/ 419097 w 8114398"/>
              <a:gd name="connsiteY28" fmla="*/ 860422 h 6857998"/>
              <a:gd name="connsiteX29" fmla="*/ 251457 w 8114398"/>
              <a:gd name="connsiteY29" fmla="*/ 827084 h 6857998"/>
              <a:gd name="connsiteX30" fmla="*/ 276222 w 8114398"/>
              <a:gd name="connsiteY30" fmla="*/ 827084 h 6857998"/>
              <a:gd name="connsiteX31" fmla="*/ 281937 w 8114398"/>
              <a:gd name="connsiteY31" fmla="*/ 832799 h 6857998"/>
              <a:gd name="connsiteX32" fmla="*/ 276222 w 8114398"/>
              <a:gd name="connsiteY32" fmla="*/ 838514 h 6857998"/>
              <a:gd name="connsiteX33" fmla="*/ 251457 w 8114398"/>
              <a:gd name="connsiteY33" fmla="*/ 838514 h 6857998"/>
              <a:gd name="connsiteX34" fmla="*/ 337182 w 8114398"/>
              <a:gd name="connsiteY34" fmla="*/ 808034 h 6857998"/>
              <a:gd name="connsiteX35" fmla="*/ 346707 w 8114398"/>
              <a:gd name="connsiteY35" fmla="*/ 828989 h 6857998"/>
              <a:gd name="connsiteX36" fmla="*/ 327658 w 8114398"/>
              <a:gd name="connsiteY36" fmla="*/ 828989 h 6857998"/>
              <a:gd name="connsiteX37" fmla="*/ 518158 w 8114398"/>
              <a:gd name="connsiteY37" fmla="*/ 806129 h 6857998"/>
              <a:gd name="connsiteX38" fmla="*/ 538160 w 8114398"/>
              <a:gd name="connsiteY38" fmla="*/ 806129 h 6857998"/>
              <a:gd name="connsiteX39" fmla="*/ 543875 w 8114398"/>
              <a:gd name="connsiteY39" fmla="*/ 810892 h 6857998"/>
              <a:gd name="connsiteX40" fmla="*/ 538160 w 8114398"/>
              <a:gd name="connsiteY40" fmla="*/ 816608 h 6857998"/>
              <a:gd name="connsiteX41" fmla="*/ 518158 w 8114398"/>
              <a:gd name="connsiteY41" fmla="*/ 816608 h 6857998"/>
              <a:gd name="connsiteX42" fmla="*/ 518158 w 8114398"/>
              <a:gd name="connsiteY42" fmla="*/ 806129 h 6857998"/>
              <a:gd name="connsiteX43" fmla="*/ 251457 w 8114398"/>
              <a:gd name="connsiteY43" fmla="*/ 806129 h 6857998"/>
              <a:gd name="connsiteX44" fmla="*/ 275269 w 8114398"/>
              <a:gd name="connsiteY44" fmla="*/ 806129 h 6857998"/>
              <a:gd name="connsiteX45" fmla="*/ 280032 w 8114398"/>
              <a:gd name="connsiteY45" fmla="*/ 810892 h 6857998"/>
              <a:gd name="connsiteX46" fmla="*/ 275269 w 8114398"/>
              <a:gd name="connsiteY46" fmla="*/ 815654 h 6857998"/>
              <a:gd name="connsiteX47" fmla="*/ 251457 w 8114398"/>
              <a:gd name="connsiteY47" fmla="*/ 815654 h 6857998"/>
              <a:gd name="connsiteX48" fmla="*/ 361948 w 8114398"/>
              <a:gd name="connsiteY48" fmla="*/ 793748 h 6857998"/>
              <a:gd name="connsiteX49" fmla="*/ 388618 w 8114398"/>
              <a:gd name="connsiteY49" fmla="*/ 830895 h 6857998"/>
              <a:gd name="connsiteX50" fmla="*/ 388618 w 8114398"/>
              <a:gd name="connsiteY50" fmla="*/ 850898 h 6857998"/>
              <a:gd name="connsiteX51" fmla="*/ 401953 w 8114398"/>
              <a:gd name="connsiteY51" fmla="*/ 850898 h 6857998"/>
              <a:gd name="connsiteX52" fmla="*/ 401953 w 8114398"/>
              <a:gd name="connsiteY52" fmla="*/ 830895 h 6857998"/>
              <a:gd name="connsiteX53" fmla="*/ 428623 w 8114398"/>
              <a:gd name="connsiteY53" fmla="*/ 793748 h 6857998"/>
              <a:gd name="connsiteX54" fmla="*/ 413383 w 8114398"/>
              <a:gd name="connsiteY54" fmla="*/ 793748 h 6857998"/>
              <a:gd name="connsiteX55" fmla="*/ 394333 w 8114398"/>
              <a:gd name="connsiteY55" fmla="*/ 819465 h 6857998"/>
              <a:gd name="connsiteX56" fmla="*/ 377188 w 8114398"/>
              <a:gd name="connsiteY56" fmla="*/ 793748 h 6857998"/>
              <a:gd name="connsiteX57" fmla="*/ 438148 w 8114398"/>
              <a:gd name="connsiteY57" fmla="*/ 793748 h 6857998"/>
              <a:gd name="connsiteX58" fmla="*/ 438148 w 8114398"/>
              <a:gd name="connsiteY58" fmla="*/ 850898 h 6857998"/>
              <a:gd name="connsiteX59" fmla="*/ 495298 w 8114398"/>
              <a:gd name="connsiteY59" fmla="*/ 850898 h 6857998"/>
              <a:gd name="connsiteX60" fmla="*/ 495298 w 8114398"/>
              <a:gd name="connsiteY60" fmla="*/ 839468 h 6857998"/>
              <a:gd name="connsiteX61" fmla="*/ 452435 w 8114398"/>
              <a:gd name="connsiteY61" fmla="*/ 839468 h 6857998"/>
              <a:gd name="connsiteX62" fmla="*/ 452435 w 8114398"/>
              <a:gd name="connsiteY62" fmla="*/ 828038 h 6857998"/>
              <a:gd name="connsiteX63" fmla="*/ 493393 w 8114398"/>
              <a:gd name="connsiteY63" fmla="*/ 828038 h 6857998"/>
              <a:gd name="connsiteX64" fmla="*/ 493393 w 8114398"/>
              <a:gd name="connsiteY64" fmla="*/ 816608 h 6857998"/>
              <a:gd name="connsiteX65" fmla="*/ 452435 w 8114398"/>
              <a:gd name="connsiteY65" fmla="*/ 816608 h 6857998"/>
              <a:gd name="connsiteX66" fmla="*/ 452435 w 8114398"/>
              <a:gd name="connsiteY66" fmla="*/ 807083 h 6857998"/>
              <a:gd name="connsiteX67" fmla="*/ 495298 w 8114398"/>
              <a:gd name="connsiteY67" fmla="*/ 807083 h 6857998"/>
              <a:gd name="connsiteX68" fmla="*/ 495298 w 8114398"/>
              <a:gd name="connsiteY68" fmla="*/ 793748 h 6857998"/>
              <a:gd name="connsiteX69" fmla="*/ 504823 w 8114398"/>
              <a:gd name="connsiteY69" fmla="*/ 793747 h 6857998"/>
              <a:gd name="connsiteX70" fmla="*/ 504823 w 8114398"/>
              <a:gd name="connsiteY70" fmla="*/ 850897 h 6857998"/>
              <a:gd name="connsiteX71" fmla="*/ 518158 w 8114398"/>
              <a:gd name="connsiteY71" fmla="*/ 850897 h 6857998"/>
              <a:gd name="connsiteX72" fmla="*/ 518158 w 8114398"/>
              <a:gd name="connsiteY72" fmla="*/ 828989 h 6857998"/>
              <a:gd name="connsiteX73" fmla="*/ 528635 w 8114398"/>
              <a:gd name="connsiteY73" fmla="*/ 828989 h 6857998"/>
              <a:gd name="connsiteX74" fmla="*/ 545780 w 8114398"/>
              <a:gd name="connsiteY74" fmla="*/ 850897 h 6857998"/>
              <a:gd name="connsiteX75" fmla="*/ 561973 w 8114398"/>
              <a:gd name="connsiteY75" fmla="*/ 850897 h 6857998"/>
              <a:gd name="connsiteX76" fmla="*/ 545780 w 8114398"/>
              <a:gd name="connsiteY76" fmla="*/ 828989 h 6857998"/>
              <a:gd name="connsiteX77" fmla="*/ 558163 w 8114398"/>
              <a:gd name="connsiteY77" fmla="*/ 811844 h 6857998"/>
              <a:gd name="connsiteX78" fmla="*/ 540065 w 8114398"/>
              <a:gd name="connsiteY78" fmla="*/ 793747 h 6857998"/>
              <a:gd name="connsiteX79" fmla="*/ 504823 w 8114398"/>
              <a:gd name="connsiteY79" fmla="*/ 793747 h 6857998"/>
              <a:gd name="connsiteX80" fmla="*/ 331468 w 8114398"/>
              <a:gd name="connsiteY80" fmla="*/ 793747 h 6857998"/>
              <a:gd name="connsiteX81" fmla="*/ 304798 w 8114398"/>
              <a:gd name="connsiteY81" fmla="*/ 850897 h 6857998"/>
              <a:gd name="connsiteX82" fmla="*/ 319084 w 8114398"/>
              <a:gd name="connsiteY82" fmla="*/ 850897 h 6857998"/>
              <a:gd name="connsiteX83" fmla="*/ 321943 w 8114398"/>
              <a:gd name="connsiteY83" fmla="*/ 841372 h 6857998"/>
              <a:gd name="connsiteX84" fmla="*/ 352422 w 8114398"/>
              <a:gd name="connsiteY84" fmla="*/ 841372 h 6857998"/>
              <a:gd name="connsiteX85" fmla="*/ 357184 w 8114398"/>
              <a:gd name="connsiteY85" fmla="*/ 850897 h 6857998"/>
              <a:gd name="connsiteX86" fmla="*/ 371472 w 8114398"/>
              <a:gd name="connsiteY86" fmla="*/ 850897 h 6857998"/>
              <a:gd name="connsiteX87" fmla="*/ 343849 w 8114398"/>
              <a:gd name="connsiteY87" fmla="*/ 793747 h 6857998"/>
              <a:gd name="connsiteX88" fmla="*/ 238122 w 8114398"/>
              <a:gd name="connsiteY88" fmla="*/ 793747 h 6857998"/>
              <a:gd name="connsiteX89" fmla="*/ 238122 w 8114398"/>
              <a:gd name="connsiteY89" fmla="*/ 850897 h 6857998"/>
              <a:gd name="connsiteX90" fmla="*/ 278127 w 8114398"/>
              <a:gd name="connsiteY90" fmla="*/ 850897 h 6857998"/>
              <a:gd name="connsiteX91" fmla="*/ 295272 w 8114398"/>
              <a:gd name="connsiteY91" fmla="*/ 833752 h 6857998"/>
              <a:gd name="connsiteX92" fmla="*/ 289557 w 8114398"/>
              <a:gd name="connsiteY92" fmla="*/ 821369 h 6857998"/>
              <a:gd name="connsiteX93" fmla="*/ 293367 w 8114398"/>
              <a:gd name="connsiteY93" fmla="*/ 810892 h 6857998"/>
              <a:gd name="connsiteX94" fmla="*/ 277174 w 8114398"/>
              <a:gd name="connsiteY94" fmla="*/ 793747 h 6857998"/>
              <a:gd name="connsiteX95" fmla="*/ 238122 w 8114398"/>
              <a:gd name="connsiteY95" fmla="*/ 793747 h 6857998"/>
              <a:gd name="connsiteX96" fmla="*/ 394333 w 8114398"/>
              <a:gd name="connsiteY96" fmla="*/ 741360 h 6857998"/>
              <a:gd name="connsiteX97" fmla="*/ 404810 w 8114398"/>
              <a:gd name="connsiteY97" fmla="*/ 762315 h 6857998"/>
              <a:gd name="connsiteX98" fmla="*/ 384808 w 8114398"/>
              <a:gd name="connsiteY98" fmla="*/ 762315 h 6857998"/>
              <a:gd name="connsiteX99" fmla="*/ 388618 w 8114398"/>
              <a:gd name="connsiteY99" fmla="*/ 727073 h 6857998"/>
              <a:gd name="connsiteX100" fmla="*/ 361948 w 8114398"/>
              <a:gd name="connsiteY100" fmla="*/ 784223 h 6857998"/>
              <a:gd name="connsiteX101" fmla="*/ 375283 w 8114398"/>
              <a:gd name="connsiteY101" fmla="*/ 784223 h 6857998"/>
              <a:gd name="connsiteX102" fmla="*/ 380045 w 8114398"/>
              <a:gd name="connsiteY102" fmla="*/ 774698 h 6857998"/>
              <a:gd name="connsiteX103" fmla="*/ 409573 w 8114398"/>
              <a:gd name="connsiteY103" fmla="*/ 774698 h 6857998"/>
              <a:gd name="connsiteX104" fmla="*/ 414335 w 8114398"/>
              <a:gd name="connsiteY104" fmla="*/ 784223 h 6857998"/>
              <a:gd name="connsiteX105" fmla="*/ 428623 w 8114398"/>
              <a:gd name="connsiteY105" fmla="*/ 784223 h 6857998"/>
              <a:gd name="connsiteX106" fmla="*/ 401000 w 8114398"/>
              <a:gd name="connsiteY106" fmla="*/ 727073 h 6857998"/>
              <a:gd name="connsiteX107" fmla="*/ 384808 w 8114398"/>
              <a:gd name="connsiteY107" fmla="*/ 693735 h 6857998"/>
              <a:gd name="connsiteX108" fmla="*/ 409573 w 8114398"/>
              <a:gd name="connsiteY108" fmla="*/ 693735 h 6857998"/>
              <a:gd name="connsiteX109" fmla="*/ 415288 w 8114398"/>
              <a:gd name="connsiteY109" fmla="*/ 699450 h 6857998"/>
              <a:gd name="connsiteX110" fmla="*/ 409573 w 8114398"/>
              <a:gd name="connsiteY110" fmla="*/ 705165 h 6857998"/>
              <a:gd name="connsiteX111" fmla="*/ 384808 w 8114398"/>
              <a:gd name="connsiteY111" fmla="*/ 705165 h 6857998"/>
              <a:gd name="connsiteX112" fmla="*/ 384808 w 8114398"/>
              <a:gd name="connsiteY112" fmla="*/ 672780 h 6857998"/>
              <a:gd name="connsiteX113" fmla="*/ 408620 w 8114398"/>
              <a:gd name="connsiteY113" fmla="*/ 672780 h 6857998"/>
              <a:gd name="connsiteX114" fmla="*/ 413383 w 8114398"/>
              <a:gd name="connsiteY114" fmla="*/ 677543 h 6857998"/>
              <a:gd name="connsiteX115" fmla="*/ 408620 w 8114398"/>
              <a:gd name="connsiteY115" fmla="*/ 682305 h 6857998"/>
              <a:gd name="connsiteX116" fmla="*/ 384808 w 8114398"/>
              <a:gd name="connsiteY116" fmla="*/ 682305 h 6857998"/>
              <a:gd name="connsiteX117" fmla="*/ 371473 w 8114398"/>
              <a:gd name="connsiteY117" fmla="*/ 660398 h 6857998"/>
              <a:gd name="connsiteX118" fmla="*/ 371473 w 8114398"/>
              <a:gd name="connsiteY118" fmla="*/ 717548 h 6857998"/>
              <a:gd name="connsiteX119" fmla="*/ 411478 w 8114398"/>
              <a:gd name="connsiteY119" fmla="*/ 717548 h 6857998"/>
              <a:gd name="connsiteX120" fmla="*/ 428623 w 8114398"/>
              <a:gd name="connsiteY120" fmla="*/ 700403 h 6857998"/>
              <a:gd name="connsiteX121" fmla="*/ 422908 w 8114398"/>
              <a:gd name="connsiteY121" fmla="*/ 688020 h 6857998"/>
              <a:gd name="connsiteX122" fmla="*/ 427670 w 8114398"/>
              <a:gd name="connsiteY122" fmla="*/ 676590 h 6857998"/>
              <a:gd name="connsiteX123" fmla="*/ 410525 w 8114398"/>
              <a:gd name="connsiteY123" fmla="*/ 660398 h 6857998"/>
              <a:gd name="connsiteX124" fmla="*/ 371473 w 8114398"/>
              <a:gd name="connsiteY124" fmla="*/ 660398 h 6857998"/>
              <a:gd name="connsiteX125" fmla="*/ 400049 w 8114398"/>
              <a:gd name="connsiteY125" fmla="*/ 644683 h 6857998"/>
              <a:gd name="connsiteX126" fmla="*/ 575309 w 8114398"/>
              <a:gd name="connsiteY126" fmla="*/ 822800 h 6857998"/>
              <a:gd name="connsiteX127" fmla="*/ 400049 w 8114398"/>
              <a:gd name="connsiteY127" fmla="*/ 996155 h 6857998"/>
              <a:gd name="connsiteX128" fmla="*/ 224789 w 8114398"/>
              <a:gd name="connsiteY128" fmla="*/ 819943 h 6857998"/>
              <a:gd name="connsiteX129" fmla="*/ 400049 w 8114398"/>
              <a:gd name="connsiteY129" fmla="*/ 644683 h 6857998"/>
              <a:gd name="connsiteX130" fmla="*/ 400049 w 8114398"/>
              <a:gd name="connsiteY130" fmla="*/ 619918 h 6857998"/>
              <a:gd name="connsiteX131" fmla="*/ 200024 w 8114398"/>
              <a:gd name="connsiteY131" fmla="*/ 819943 h 6857998"/>
              <a:gd name="connsiteX132" fmla="*/ 400049 w 8114398"/>
              <a:gd name="connsiteY132" fmla="*/ 1019968 h 6857998"/>
              <a:gd name="connsiteX133" fmla="*/ 600074 w 8114398"/>
              <a:gd name="connsiteY133" fmla="*/ 819943 h 6857998"/>
              <a:gd name="connsiteX134" fmla="*/ 400049 w 8114398"/>
              <a:gd name="connsiteY134" fmla="*/ 619918 h 6857998"/>
              <a:gd name="connsiteX135" fmla="*/ 6285641 w 8114398"/>
              <a:gd name="connsiteY135" fmla="*/ 0 h 6857998"/>
              <a:gd name="connsiteX136" fmla="*/ 8114398 w 8114398"/>
              <a:gd name="connsiteY136" fmla="*/ 0 h 6857998"/>
              <a:gd name="connsiteX137" fmla="*/ 8114398 w 8114398"/>
              <a:gd name="connsiteY137" fmla="*/ 6857998 h 6857998"/>
              <a:gd name="connsiteX138" fmla="*/ 3780054 w 8114398"/>
              <a:gd name="connsiteY138" fmla="*/ 6857998 h 6857998"/>
              <a:gd name="connsiteX139" fmla="*/ 0 w 8114398"/>
              <a:gd name="connsiteY139" fmla="*/ 0 h 6857998"/>
              <a:gd name="connsiteX140" fmla="*/ 6266477 w 8114398"/>
              <a:gd name="connsiteY140" fmla="*/ 0 h 6857998"/>
              <a:gd name="connsiteX141" fmla="*/ 3760890 w 8114398"/>
              <a:gd name="connsiteY141" fmla="*/ 6857998 h 6857998"/>
              <a:gd name="connsiteX142" fmla="*/ 0 w 8114398"/>
              <a:gd name="connsiteY142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</a:cxnLst>
            <a:rect l="l" t="t" r="r" b="b"/>
            <a:pathLst>
              <a:path w="8114398" h="6857998">
                <a:moveTo>
                  <a:pt x="385599" y="941860"/>
                </a:moveTo>
                <a:cubicBezTo>
                  <a:pt x="385599" y="941860"/>
                  <a:pt x="385599" y="941860"/>
                  <a:pt x="405601" y="941860"/>
                </a:cubicBezTo>
                <a:cubicBezTo>
                  <a:pt x="408459" y="941860"/>
                  <a:pt x="411316" y="944718"/>
                  <a:pt x="411316" y="946623"/>
                </a:cubicBezTo>
                <a:cubicBezTo>
                  <a:pt x="411316" y="950433"/>
                  <a:pt x="408459" y="952338"/>
                  <a:pt x="405601" y="952338"/>
                </a:cubicBezTo>
                <a:cubicBezTo>
                  <a:pt x="405601" y="952338"/>
                  <a:pt x="405601" y="952338"/>
                  <a:pt x="385599" y="952338"/>
                </a:cubicBezTo>
                <a:cubicBezTo>
                  <a:pt x="385599" y="952338"/>
                  <a:pt x="385599" y="952338"/>
                  <a:pt x="385599" y="941860"/>
                </a:cubicBezTo>
                <a:close/>
                <a:moveTo>
                  <a:pt x="372264" y="929478"/>
                </a:moveTo>
                <a:cubicBezTo>
                  <a:pt x="372264" y="929478"/>
                  <a:pt x="372264" y="929478"/>
                  <a:pt x="372264" y="986628"/>
                </a:cubicBezTo>
                <a:cubicBezTo>
                  <a:pt x="372264" y="986628"/>
                  <a:pt x="372264" y="986628"/>
                  <a:pt x="385599" y="986628"/>
                </a:cubicBezTo>
                <a:cubicBezTo>
                  <a:pt x="385599" y="986628"/>
                  <a:pt x="385599" y="986628"/>
                  <a:pt x="385599" y="964720"/>
                </a:cubicBezTo>
                <a:cubicBezTo>
                  <a:pt x="385599" y="964720"/>
                  <a:pt x="385599" y="964720"/>
                  <a:pt x="396076" y="964720"/>
                </a:cubicBezTo>
                <a:lnTo>
                  <a:pt x="413221" y="986628"/>
                </a:lnTo>
                <a:cubicBezTo>
                  <a:pt x="413221" y="986628"/>
                  <a:pt x="413221" y="986628"/>
                  <a:pt x="429414" y="986628"/>
                </a:cubicBezTo>
                <a:cubicBezTo>
                  <a:pt x="429414" y="986628"/>
                  <a:pt x="429414" y="986628"/>
                  <a:pt x="413221" y="964720"/>
                </a:cubicBezTo>
                <a:cubicBezTo>
                  <a:pt x="419889" y="962815"/>
                  <a:pt x="425604" y="956148"/>
                  <a:pt x="425604" y="947575"/>
                </a:cubicBezTo>
                <a:cubicBezTo>
                  <a:pt x="425604" y="937098"/>
                  <a:pt x="417031" y="929478"/>
                  <a:pt x="407506" y="929478"/>
                </a:cubicBezTo>
                <a:cubicBezTo>
                  <a:pt x="407506" y="929478"/>
                  <a:pt x="407506" y="929478"/>
                  <a:pt x="372264" y="929478"/>
                </a:cubicBezTo>
                <a:close/>
                <a:moveTo>
                  <a:pt x="371472" y="860422"/>
                </a:moveTo>
                <a:lnTo>
                  <a:pt x="371472" y="917572"/>
                </a:lnTo>
                <a:lnTo>
                  <a:pt x="419097" y="917572"/>
                </a:lnTo>
                <a:lnTo>
                  <a:pt x="419097" y="906142"/>
                </a:lnTo>
                <a:lnTo>
                  <a:pt x="383854" y="906142"/>
                </a:lnTo>
                <a:lnTo>
                  <a:pt x="383854" y="893759"/>
                </a:lnTo>
                <a:lnTo>
                  <a:pt x="417192" y="893759"/>
                </a:lnTo>
                <a:lnTo>
                  <a:pt x="417192" y="882329"/>
                </a:lnTo>
                <a:lnTo>
                  <a:pt x="383854" y="882329"/>
                </a:lnTo>
                <a:lnTo>
                  <a:pt x="383854" y="871852"/>
                </a:lnTo>
                <a:lnTo>
                  <a:pt x="419097" y="871852"/>
                </a:lnTo>
                <a:lnTo>
                  <a:pt x="419097" y="860422"/>
                </a:lnTo>
                <a:close/>
                <a:moveTo>
                  <a:pt x="251457" y="827084"/>
                </a:moveTo>
                <a:cubicBezTo>
                  <a:pt x="251457" y="827084"/>
                  <a:pt x="251457" y="827084"/>
                  <a:pt x="276222" y="827084"/>
                </a:cubicBezTo>
                <a:cubicBezTo>
                  <a:pt x="279079" y="827084"/>
                  <a:pt x="281937" y="829942"/>
                  <a:pt x="281937" y="832799"/>
                </a:cubicBezTo>
                <a:cubicBezTo>
                  <a:pt x="281937" y="836609"/>
                  <a:pt x="279079" y="838514"/>
                  <a:pt x="276222" y="838514"/>
                </a:cubicBezTo>
                <a:cubicBezTo>
                  <a:pt x="276222" y="838514"/>
                  <a:pt x="276222" y="838514"/>
                  <a:pt x="251457" y="838514"/>
                </a:cubicBezTo>
                <a:close/>
                <a:moveTo>
                  <a:pt x="337182" y="808034"/>
                </a:moveTo>
                <a:lnTo>
                  <a:pt x="346707" y="828989"/>
                </a:lnTo>
                <a:lnTo>
                  <a:pt x="327658" y="828989"/>
                </a:lnTo>
                <a:close/>
                <a:moveTo>
                  <a:pt x="518158" y="806129"/>
                </a:moveTo>
                <a:cubicBezTo>
                  <a:pt x="518158" y="806129"/>
                  <a:pt x="518158" y="806129"/>
                  <a:pt x="538160" y="806129"/>
                </a:cubicBezTo>
                <a:cubicBezTo>
                  <a:pt x="541018" y="806129"/>
                  <a:pt x="543875" y="808987"/>
                  <a:pt x="543875" y="810892"/>
                </a:cubicBezTo>
                <a:cubicBezTo>
                  <a:pt x="543875" y="814702"/>
                  <a:pt x="541018" y="816608"/>
                  <a:pt x="538160" y="816608"/>
                </a:cubicBezTo>
                <a:cubicBezTo>
                  <a:pt x="538160" y="816608"/>
                  <a:pt x="538160" y="816608"/>
                  <a:pt x="518158" y="816608"/>
                </a:cubicBezTo>
                <a:cubicBezTo>
                  <a:pt x="518158" y="816608"/>
                  <a:pt x="518158" y="816608"/>
                  <a:pt x="518158" y="806129"/>
                </a:cubicBezTo>
                <a:close/>
                <a:moveTo>
                  <a:pt x="251457" y="806129"/>
                </a:moveTo>
                <a:cubicBezTo>
                  <a:pt x="251457" y="806129"/>
                  <a:pt x="251457" y="806129"/>
                  <a:pt x="275269" y="806129"/>
                </a:cubicBezTo>
                <a:cubicBezTo>
                  <a:pt x="278127" y="806129"/>
                  <a:pt x="280032" y="808034"/>
                  <a:pt x="280032" y="810892"/>
                </a:cubicBezTo>
                <a:cubicBezTo>
                  <a:pt x="280032" y="813749"/>
                  <a:pt x="278127" y="815654"/>
                  <a:pt x="275269" y="815654"/>
                </a:cubicBezTo>
                <a:cubicBezTo>
                  <a:pt x="275269" y="815654"/>
                  <a:pt x="275269" y="815654"/>
                  <a:pt x="251457" y="815654"/>
                </a:cubicBezTo>
                <a:close/>
                <a:moveTo>
                  <a:pt x="361948" y="793748"/>
                </a:moveTo>
                <a:lnTo>
                  <a:pt x="388618" y="830895"/>
                </a:lnTo>
                <a:lnTo>
                  <a:pt x="388618" y="850898"/>
                </a:lnTo>
                <a:lnTo>
                  <a:pt x="401953" y="850898"/>
                </a:lnTo>
                <a:lnTo>
                  <a:pt x="401953" y="830895"/>
                </a:lnTo>
                <a:lnTo>
                  <a:pt x="428623" y="793748"/>
                </a:lnTo>
                <a:lnTo>
                  <a:pt x="413383" y="793748"/>
                </a:lnTo>
                <a:lnTo>
                  <a:pt x="394333" y="819465"/>
                </a:lnTo>
                <a:lnTo>
                  <a:pt x="377188" y="793748"/>
                </a:lnTo>
                <a:close/>
                <a:moveTo>
                  <a:pt x="438148" y="793748"/>
                </a:moveTo>
                <a:lnTo>
                  <a:pt x="438148" y="850898"/>
                </a:lnTo>
                <a:lnTo>
                  <a:pt x="495298" y="850898"/>
                </a:lnTo>
                <a:lnTo>
                  <a:pt x="495298" y="839468"/>
                </a:lnTo>
                <a:lnTo>
                  <a:pt x="452435" y="839468"/>
                </a:lnTo>
                <a:lnTo>
                  <a:pt x="452435" y="828038"/>
                </a:lnTo>
                <a:lnTo>
                  <a:pt x="493393" y="828038"/>
                </a:lnTo>
                <a:lnTo>
                  <a:pt x="493393" y="816608"/>
                </a:lnTo>
                <a:lnTo>
                  <a:pt x="452435" y="816608"/>
                </a:lnTo>
                <a:lnTo>
                  <a:pt x="452435" y="807083"/>
                </a:lnTo>
                <a:lnTo>
                  <a:pt x="495298" y="807083"/>
                </a:lnTo>
                <a:lnTo>
                  <a:pt x="495298" y="793748"/>
                </a:lnTo>
                <a:close/>
                <a:moveTo>
                  <a:pt x="504823" y="793747"/>
                </a:moveTo>
                <a:cubicBezTo>
                  <a:pt x="504823" y="793747"/>
                  <a:pt x="504823" y="793747"/>
                  <a:pt x="504823" y="850897"/>
                </a:cubicBezTo>
                <a:cubicBezTo>
                  <a:pt x="504823" y="850897"/>
                  <a:pt x="504823" y="850897"/>
                  <a:pt x="518158" y="850897"/>
                </a:cubicBezTo>
                <a:cubicBezTo>
                  <a:pt x="518158" y="850897"/>
                  <a:pt x="518158" y="850897"/>
                  <a:pt x="518158" y="828989"/>
                </a:cubicBezTo>
                <a:cubicBezTo>
                  <a:pt x="518158" y="828989"/>
                  <a:pt x="518158" y="828989"/>
                  <a:pt x="528635" y="828989"/>
                </a:cubicBezTo>
                <a:lnTo>
                  <a:pt x="545780" y="850897"/>
                </a:lnTo>
                <a:cubicBezTo>
                  <a:pt x="545780" y="850897"/>
                  <a:pt x="545780" y="850897"/>
                  <a:pt x="561973" y="850897"/>
                </a:cubicBezTo>
                <a:cubicBezTo>
                  <a:pt x="561973" y="850897"/>
                  <a:pt x="561973" y="850897"/>
                  <a:pt x="545780" y="828989"/>
                </a:cubicBezTo>
                <a:cubicBezTo>
                  <a:pt x="552448" y="827084"/>
                  <a:pt x="558163" y="820417"/>
                  <a:pt x="558163" y="811844"/>
                </a:cubicBezTo>
                <a:cubicBezTo>
                  <a:pt x="558163" y="801368"/>
                  <a:pt x="549590" y="793747"/>
                  <a:pt x="540065" y="793747"/>
                </a:cubicBezTo>
                <a:cubicBezTo>
                  <a:pt x="540065" y="793747"/>
                  <a:pt x="540065" y="793747"/>
                  <a:pt x="504823" y="793747"/>
                </a:cubicBezTo>
                <a:close/>
                <a:moveTo>
                  <a:pt x="331468" y="793747"/>
                </a:moveTo>
                <a:lnTo>
                  <a:pt x="304798" y="850897"/>
                </a:lnTo>
                <a:lnTo>
                  <a:pt x="319084" y="850897"/>
                </a:lnTo>
                <a:lnTo>
                  <a:pt x="321943" y="841372"/>
                </a:lnTo>
                <a:lnTo>
                  <a:pt x="352422" y="841372"/>
                </a:lnTo>
                <a:lnTo>
                  <a:pt x="357184" y="850897"/>
                </a:lnTo>
                <a:lnTo>
                  <a:pt x="371472" y="850897"/>
                </a:lnTo>
                <a:lnTo>
                  <a:pt x="343849" y="793747"/>
                </a:lnTo>
                <a:close/>
                <a:moveTo>
                  <a:pt x="238122" y="793747"/>
                </a:moveTo>
                <a:cubicBezTo>
                  <a:pt x="238122" y="793747"/>
                  <a:pt x="238122" y="793747"/>
                  <a:pt x="238122" y="850897"/>
                </a:cubicBezTo>
                <a:cubicBezTo>
                  <a:pt x="238122" y="850897"/>
                  <a:pt x="238122" y="850897"/>
                  <a:pt x="278127" y="850897"/>
                </a:cubicBezTo>
                <a:cubicBezTo>
                  <a:pt x="287652" y="850897"/>
                  <a:pt x="295272" y="843277"/>
                  <a:pt x="295272" y="833752"/>
                </a:cubicBezTo>
                <a:cubicBezTo>
                  <a:pt x="295272" y="828989"/>
                  <a:pt x="293367" y="824227"/>
                  <a:pt x="289557" y="821369"/>
                </a:cubicBezTo>
                <a:cubicBezTo>
                  <a:pt x="292414" y="818512"/>
                  <a:pt x="293367" y="814702"/>
                  <a:pt x="293367" y="810892"/>
                </a:cubicBezTo>
                <a:cubicBezTo>
                  <a:pt x="293367" y="801367"/>
                  <a:pt x="286699" y="793747"/>
                  <a:pt x="277174" y="793747"/>
                </a:cubicBezTo>
                <a:cubicBezTo>
                  <a:pt x="277174" y="793747"/>
                  <a:pt x="277174" y="793747"/>
                  <a:pt x="238122" y="793747"/>
                </a:cubicBezTo>
                <a:close/>
                <a:moveTo>
                  <a:pt x="394333" y="741360"/>
                </a:moveTo>
                <a:lnTo>
                  <a:pt x="404810" y="762315"/>
                </a:lnTo>
                <a:lnTo>
                  <a:pt x="384808" y="762315"/>
                </a:lnTo>
                <a:close/>
                <a:moveTo>
                  <a:pt x="388618" y="727073"/>
                </a:moveTo>
                <a:lnTo>
                  <a:pt x="361948" y="784223"/>
                </a:lnTo>
                <a:lnTo>
                  <a:pt x="375283" y="784223"/>
                </a:lnTo>
                <a:lnTo>
                  <a:pt x="380045" y="774698"/>
                </a:lnTo>
                <a:lnTo>
                  <a:pt x="409573" y="774698"/>
                </a:lnTo>
                <a:lnTo>
                  <a:pt x="414335" y="784223"/>
                </a:lnTo>
                <a:lnTo>
                  <a:pt x="428623" y="784223"/>
                </a:lnTo>
                <a:lnTo>
                  <a:pt x="401000" y="727073"/>
                </a:lnTo>
                <a:close/>
                <a:moveTo>
                  <a:pt x="384808" y="693735"/>
                </a:moveTo>
                <a:cubicBezTo>
                  <a:pt x="384808" y="693735"/>
                  <a:pt x="384808" y="693735"/>
                  <a:pt x="409573" y="693735"/>
                </a:cubicBezTo>
                <a:cubicBezTo>
                  <a:pt x="412430" y="693735"/>
                  <a:pt x="415288" y="696593"/>
                  <a:pt x="415288" y="699450"/>
                </a:cubicBezTo>
                <a:cubicBezTo>
                  <a:pt x="415288" y="703260"/>
                  <a:pt x="412430" y="705165"/>
                  <a:pt x="409573" y="705165"/>
                </a:cubicBezTo>
                <a:cubicBezTo>
                  <a:pt x="409573" y="705165"/>
                  <a:pt x="409573" y="705165"/>
                  <a:pt x="384808" y="705165"/>
                </a:cubicBezTo>
                <a:close/>
                <a:moveTo>
                  <a:pt x="384808" y="672780"/>
                </a:moveTo>
                <a:cubicBezTo>
                  <a:pt x="384808" y="672780"/>
                  <a:pt x="384808" y="672780"/>
                  <a:pt x="408620" y="672780"/>
                </a:cubicBezTo>
                <a:cubicBezTo>
                  <a:pt x="411478" y="672780"/>
                  <a:pt x="413383" y="674685"/>
                  <a:pt x="413383" y="677543"/>
                </a:cubicBezTo>
                <a:cubicBezTo>
                  <a:pt x="413383" y="680400"/>
                  <a:pt x="411478" y="682305"/>
                  <a:pt x="408620" y="682305"/>
                </a:cubicBezTo>
                <a:cubicBezTo>
                  <a:pt x="408620" y="682305"/>
                  <a:pt x="408620" y="682305"/>
                  <a:pt x="384808" y="682305"/>
                </a:cubicBezTo>
                <a:close/>
                <a:moveTo>
                  <a:pt x="371473" y="660398"/>
                </a:moveTo>
                <a:cubicBezTo>
                  <a:pt x="371473" y="660398"/>
                  <a:pt x="371473" y="660398"/>
                  <a:pt x="371473" y="717548"/>
                </a:cubicBezTo>
                <a:cubicBezTo>
                  <a:pt x="371473" y="717548"/>
                  <a:pt x="371473" y="717548"/>
                  <a:pt x="411478" y="717548"/>
                </a:cubicBezTo>
                <a:cubicBezTo>
                  <a:pt x="421003" y="717548"/>
                  <a:pt x="428623" y="709928"/>
                  <a:pt x="428623" y="700403"/>
                </a:cubicBezTo>
                <a:cubicBezTo>
                  <a:pt x="428623" y="695640"/>
                  <a:pt x="426718" y="690878"/>
                  <a:pt x="422908" y="688020"/>
                </a:cubicBezTo>
                <a:cubicBezTo>
                  <a:pt x="425765" y="685163"/>
                  <a:pt x="427670" y="681353"/>
                  <a:pt x="427670" y="676590"/>
                </a:cubicBezTo>
                <a:cubicBezTo>
                  <a:pt x="427670" y="668018"/>
                  <a:pt x="420050" y="660398"/>
                  <a:pt x="410525" y="660398"/>
                </a:cubicBezTo>
                <a:cubicBezTo>
                  <a:pt x="410525" y="660398"/>
                  <a:pt x="410525" y="660398"/>
                  <a:pt x="371473" y="660398"/>
                </a:cubicBezTo>
                <a:close/>
                <a:moveTo>
                  <a:pt x="400049" y="644683"/>
                </a:moveTo>
                <a:cubicBezTo>
                  <a:pt x="500061" y="644683"/>
                  <a:pt x="575309" y="721835"/>
                  <a:pt x="575309" y="822800"/>
                </a:cubicBezTo>
                <a:cubicBezTo>
                  <a:pt x="575309" y="922813"/>
                  <a:pt x="500061" y="996155"/>
                  <a:pt x="400049" y="996155"/>
                </a:cubicBezTo>
                <a:cubicBezTo>
                  <a:pt x="300036" y="996155"/>
                  <a:pt x="224789" y="919955"/>
                  <a:pt x="224789" y="819943"/>
                </a:cubicBezTo>
                <a:cubicBezTo>
                  <a:pt x="224789" y="719930"/>
                  <a:pt x="300036" y="644683"/>
                  <a:pt x="400049" y="644683"/>
                </a:cubicBezTo>
                <a:close/>
                <a:moveTo>
                  <a:pt x="400049" y="619918"/>
                </a:moveTo>
                <a:cubicBezTo>
                  <a:pt x="289559" y="619918"/>
                  <a:pt x="200024" y="709453"/>
                  <a:pt x="200024" y="819943"/>
                </a:cubicBezTo>
                <a:cubicBezTo>
                  <a:pt x="200024" y="930433"/>
                  <a:pt x="289559" y="1019968"/>
                  <a:pt x="400049" y="1019968"/>
                </a:cubicBezTo>
                <a:cubicBezTo>
                  <a:pt x="510539" y="1019968"/>
                  <a:pt x="600074" y="930433"/>
                  <a:pt x="600074" y="819943"/>
                </a:cubicBezTo>
                <a:cubicBezTo>
                  <a:pt x="600074" y="709453"/>
                  <a:pt x="510539" y="619918"/>
                  <a:pt x="400049" y="619918"/>
                </a:cubicBezTo>
                <a:close/>
                <a:moveTo>
                  <a:pt x="6285641" y="0"/>
                </a:moveTo>
                <a:lnTo>
                  <a:pt x="8114398" y="0"/>
                </a:lnTo>
                <a:lnTo>
                  <a:pt x="8114398" y="6857998"/>
                </a:lnTo>
                <a:lnTo>
                  <a:pt x="3780054" y="6857998"/>
                </a:lnTo>
                <a:close/>
                <a:moveTo>
                  <a:pt x="0" y="0"/>
                </a:moveTo>
                <a:lnTo>
                  <a:pt x="6266477" y="0"/>
                </a:lnTo>
                <a:lnTo>
                  <a:pt x="3760890" y="6857998"/>
                </a:lnTo>
                <a:lnTo>
                  <a:pt x="0" y="6857998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tIns="684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72F8C671-FCED-47EE-98C9-6A63338A68C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3252810" y="0"/>
            <a:ext cx="5891190" cy="5143500"/>
          </a:xfrm>
          <a:custGeom>
            <a:avLst/>
            <a:gdLst>
              <a:gd name="connsiteX0" fmla="*/ 1945592 w 7853898"/>
              <a:gd name="connsiteY0" fmla="*/ 0 h 6858000"/>
              <a:gd name="connsiteX1" fmla="*/ 3777198 w 7853898"/>
              <a:gd name="connsiteY1" fmla="*/ 0 h 6858000"/>
              <a:gd name="connsiteX2" fmla="*/ 4658260 w 7853898"/>
              <a:gd name="connsiteY2" fmla="*/ 0 h 6858000"/>
              <a:gd name="connsiteX3" fmla="*/ 7853898 w 7853898"/>
              <a:gd name="connsiteY3" fmla="*/ 0 h 6858000"/>
              <a:gd name="connsiteX4" fmla="*/ 7853898 w 7853898"/>
              <a:gd name="connsiteY4" fmla="*/ 6858000 h 6858000"/>
              <a:gd name="connsiteX5" fmla="*/ 4658260 w 7853898"/>
              <a:gd name="connsiteY5" fmla="*/ 6858000 h 6858000"/>
              <a:gd name="connsiteX6" fmla="*/ 3777198 w 7853898"/>
              <a:gd name="connsiteY6" fmla="*/ 6858000 h 6858000"/>
              <a:gd name="connsiteX7" fmla="*/ 1327085 w 7853898"/>
              <a:gd name="connsiteY7" fmla="*/ 6858000 h 6858000"/>
              <a:gd name="connsiteX8" fmla="*/ 0 w 7853898"/>
              <a:gd name="connsiteY8" fmla="*/ 6858000 h 6858000"/>
              <a:gd name="connsiteX9" fmla="*/ 631152 w 7853898"/>
              <a:gd name="connsiteY9" fmla="*/ 3597203 h 6858000"/>
              <a:gd name="connsiteX10" fmla="*/ 1327085 w 7853898"/>
              <a:gd name="connsiteY10" fmla="*/ 0 h 6858000"/>
              <a:gd name="connsiteX11" fmla="*/ 1926428 w 7853898"/>
              <a:gd name="connsiteY11" fmla="*/ 0 h 6858000"/>
              <a:gd name="connsiteX12" fmla="*/ 652736 w 7853898"/>
              <a:gd name="connsiteY12" fmla="*/ 3485687 h 6858000"/>
              <a:gd name="connsiteX13" fmla="*/ 1327085 w 7853898"/>
              <a:gd name="connsiteY13" fmla="*/ 17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7853898" h="6858000">
                <a:moveTo>
                  <a:pt x="1945592" y="0"/>
                </a:moveTo>
                <a:lnTo>
                  <a:pt x="3777198" y="0"/>
                </a:lnTo>
                <a:lnTo>
                  <a:pt x="4658260" y="0"/>
                </a:lnTo>
                <a:lnTo>
                  <a:pt x="7853898" y="0"/>
                </a:lnTo>
                <a:lnTo>
                  <a:pt x="7853898" y="6858000"/>
                </a:lnTo>
                <a:lnTo>
                  <a:pt x="4658260" y="6858000"/>
                </a:lnTo>
                <a:lnTo>
                  <a:pt x="3777198" y="6858000"/>
                </a:lnTo>
                <a:lnTo>
                  <a:pt x="1327085" y="6858000"/>
                </a:lnTo>
                <a:lnTo>
                  <a:pt x="0" y="6858000"/>
                </a:lnTo>
                <a:lnTo>
                  <a:pt x="631152" y="3597203"/>
                </a:lnTo>
                <a:close/>
                <a:moveTo>
                  <a:pt x="1327085" y="0"/>
                </a:moveTo>
                <a:lnTo>
                  <a:pt x="1926428" y="0"/>
                </a:lnTo>
                <a:lnTo>
                  <a:pt x="652736" y="3485687"/>
                </a:lnTo>
                <a:lnTo>
                  <a:pt x="1327085" y="1712"/>
                </a:lnTo>
                <a:close/>
              </a:path>
            </a:pathLst>
          </a:custGeom>
          <a:gradFill>
            <a:gsLst>
              <a:gs pos="0">
                <a:srgbClr val="10384F"/>
              </a:gs>
              <a:gs pos="54000">
                <a:srgbClr val="10384F"/>
              </a:gs>
              <a:gs pos="100000">
                <a:srgbClr val="10384F">
                  <a:alpha val="90000"/>
                </a:srgbClr>
              </a:gs>
            </a:gsLst>
            <a:lin ang="10800000" scaled="0"/>
          </a:gra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736461" y="136454"/>
            <a:ext cx="3914355" cy="64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cxnSp>
        <p:nvCxnSpPr>
          <p:cNvPr id="20" name="Straight Connector 19"/>
          <p:cNvCxnSpPr/>
          <p:nvPr userDrawn="1"/>
        </p:nvCxnSpPr>
        <p:spPr bwMode="blackGray">
          <a:xfrm flipV="1">
            <a:off x="2826260" y="0"/>
            <a:ext cx="1880500" cy="51435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blackGray"/>
        <p:txBody>
          <a:bodyPr/>
          <a:lstStyle/>
          <a:p>
            <a:fld id="{48014C0E-0C4F-4622-8BF5-09DDBB13B6D0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MIO_VALID_LAYOUT" hidden="1">
            <a:extLst>
              <a:ext uri="{FF2B5EF4-FFF2-40B4-BE49-F238E27FC236}">
                <a16:creationId xmlns:a16="http://schemas.microsoft.com/office/drawing/2014/main" id="{31467912-1545-4993-9077-17D9670FB8B9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2B4303-08B3-4093-B75A-28E14949D5F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6461" y="853724"/>
            <a:ext cx="3917107" cy="189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7pPr>
            <a:lvl8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8pPr>
            <a:lvl9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25FAE8D-0D23-44C8-BD5C-4412C7CF687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20343" y="1299563"/>
            <a:ext cx="3915510" cy="35639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02500" indent="-202500" algn="l" defTabSz="685800" rtl="0" eaLnBrk="1" latinLnBrk="0" hangingPunct="1">
              <a:spcBef>
                <a:spcPts val="225"/>
              </a:spcBef>
              <a:spcAft>
                <a:spcPts val="450"/>
              </a:spcAft>
              <a:buFontTx/>
              <a:buBlip>
                <a:blip r:embed="rId2"/>
              </a:buBlip>
              <a:defRPr lang="en-US" sz="135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05000" indent="-202500" algn="l" defTabSz="685800" rtl="0" eaLnBrk="1" latinLnBrk="0" hangingPunct="1">
              <a:spcBef>
                <a:spcPts val="225"/>
              </a:spcBef>
              <a:spcAft>
                <a:spcPts val="450"/>
              </a:spcAft>
              <a:buFontTx/>
              <a:buBlip>
                <a:blip r:embed="rId2"/>
              </a:buBlip>
              <a:defRPr lang="en-US" sz="135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07500" indent="-202500" algn="l" defTabSz="685800" rtl="0" eaLnBrk="1" latinLnBrk="0" hangingPunct="1">
              <a:spcBef>
                <a:spcPts val="225"/>
              </a:spcBef>
              <a:spcAft>
                <a:spcPts val="450"/>
              </a:spcAft>
              <a:buFontTx/>
              <a:buBlip>
                <a:blip r:embed="rId2"/>
              </a:buBlip>
              <a:defRPr lang="en-US" sz="135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10000" indent="-202500" algn="l" defTabSz="685800" rtl="0" eaLnBrk="1" latinLnBrk="0" hangingPunct="1">
              <a:spcBef>
                <a:spcPts val="225"/>
              </a:spcBef>
              <a:spcAft>
                <a:spcPts val="450"/>
              </a:spcAft>
              <a:buFontTx/>
              <a:buBlip>
                <a:blip r:embed="rId2"/>
              </a:buBlip>
              <a:defRPr lang="en-US" sz="135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010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&amp; Tex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31">
            <a:extLst>
              <a:ext uri="{FF2B5EF4-FFF2-40B4-BE49-F238E27FC236}">
                <a16:creationId xmlns:a16="http://schemas.microsoft.com/office/drawing/2014/main" id="{295B987C-1A3D-4F55-9174-A799E10BF42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blackGray">
          <a:xfrm>
            <a:off x="2" y="2"/>
            <a:ext cx="6086591" cy="5143499"/>
          </a:xfrm>
          <a:custGeom>
            <a:avLst/>
            <a:gdLst>
              <a:gd name="connsiteX0" fmla="*/ 385599 w 8114398"/>
              <a:gd name="connsiteY0" fmla="*/ 941860 h 6857998"/>
              <a:gd name="connsiteX1" fmla="*/ 405601 w 8114398"/>
              <a:gd name="connsiteY1" fmla="*/ 941860 h 6857998"/>
              <a:gd name="connsiteX2" fmla="*/ 411316 w 8114398"/>
              <a:gd name="connsiteY2" fmla="*/ 946623 h 6857998"/>
              <a:gd name="connsiteX3" fmla="*/ 405601 w 8114398"/>
              <a:gd name="connsiteY3" fmla="*/ 952338 h 6857998"/>
              <a:gd name="connsiteX4" fmla="*/ 385599 w 8114398"/>
              <a:gd name="connsiteY4" fmla="*/ 952338 h 6857998"/>
              <a:gd name="connsiteX5" fmla="*/ 385599 w 8114398"/>
              <a:gd name="connsiteY5" fmla="*/ 941860 h 6857998"/>
              <a:gd name="connsiteX6" fmla="*/ 372264 w 8114398"/>
              <a:gd name="connsiteY6" fmla="*/ 929478 h 6857998"/>
              <a:gd name="connsiteX7" fmla="*/ 372264 w 8114398"/>
              <a:gd name="connsiteY7" fmla="*/ 986628 h 6857998"/>
              <a:gd name="connsiteX8" fmla="*/ 385599 w 8114398"/>
              <a:gd name="connsiteY8" fmla="*/ 986628 h 6857998"/>
              <a:gd name="connsiteX9" fmla="*/ 385599 w 8114398"/>
              <a:gd name="connsiteY9" fmla="*/ 964720 h 6857998"/>
              <a:gd name="connsiteX10" fmla="*/ 396076 w 8114398"/>
              <a:gd name="connsiteY10" fmla="*/ 964720 h 6857998"/>
              <a:gd name="connsiteX11" fmla="*/ 413221 w 8114398"/>
              <a:gd name="connsiteY11" fmla="*/ 986628 h 6857998"/>
              <a:gd name="connsiteX12" fmla="*/ 429414 w 8114398"/>
              <a:gd name="connsiteY12" fmla="*/ 986628 h 6857998"/>
              <a:gd name="connsiteX13" fmla="*/ 413221 w 8114398"/>
              <a:gd name="connsiteY13" fmla="*/ 964720 h 6857998"/>
              <a:gd name="connsiteX14" fmla="*/ 425604 w 8114398"/>
              <a:gd name="connsiteY14" fmla="*/ 947575 h 6857998"/>
              <a:gd name="connsiteX15" fmla="*/ 407506 w 8114398"/>
              <a:gd name="connsiteY15" fmla="*/ 929478 h 6857998"/>
              <a:gd name="connsiteX16" fmla="*/ 372264 w 8114398"/>
              <a:gd name="connsiteY16" fmla="*/ 929478 h 6857998"/>
              <a:gd name="connsiteX17" fmla="*/ 371472 w 8114398"/>
              <a:gd name="connsiteY17" fmla="*/ 860422 h 6857998"/>
              <a:gd name="connsiteX18" fmla="*/ 371472 w 8114398"/>
              <a:gd name="connsiteY18" fmla="*/ 917572 h 6857998"/>
              <a:gd name="connsiteX19" fmla="*/ 419097 w 8114398"/>
              <a:gd name="connsiteY19" fmla="*/ 917572 h 6857998"/>
              <a:gd name="connsiteX20" fmla="*/ 419097 w 8114398"/>
              <a:gd name="connsiteY20" fmla="*/ 906142 h 6857998"/>
              <a:gd name="connsiteX21" fmla="*/ 383854 w 8114398"/>
              <a:gd name="connsiteY21" fmla="*/ 906142 h 6857998"/>
              <a:gd name="connsiteX22" fmla="*/ 383854 w 8114398"/>
              <a:gd name="connsiteY22" fmla="*/ 893759 h 6857998"/>
              <a:gd name="connsiteX23" fmla="*/ 417192 w 8114398"/>
              <a:gd name="connsiteY23" fmla="*/ 893759 h 6857998"/>
              <a:gd name="connsiteX24" fmla="*/ 417192 w 8114398"/>
              <a:gd name="connsiteY24" fmla="*/ 882329 h 6857998"/>
              <a:gd name="connsiteX25" fmla="*/ 383854 w 8114398"/>
              <a:gd name="connsiteY25" fmla="*/ 882329 h 6857998"/>
              <a:gd name="connsiteX26" fmla="*/ 383854 w 8114398"/>
              <a:gd name="connsiteY26" fmla="*/ 871852 h 6857998"/>
              <a:gd name="connsiteX27" fmla="*/ 419097 w 8114398"/>
              <a:gd name="connsiteY27" fmla="*/ 871852 h 6857998"/>
              <a:gd name="connsiteX28" fmla="*/ 419097 w 8114398"/>
              <a:gd name="connsiteY28" fmla="*/ 860422 h 6857998"/>
              <a:gd name="connsiteX29" fmla="*/ 251457 w 8114398"/>
              <a:gd name="connsiteY29" fmla="*/ 827084 h 6857998"/>
              <a:gd name="connsiteX30" fmla="*/ 276222 w 8114398"/>
              <a:gd name="connsiteY30" fmla="*/ 827084 h 6857998"/>
              <a:gd name="connsiteX31" fmla="*/ 281937 w 8114398"/>
              <a:gd name="connsiteY31" fmla="*/ 832799 h 6857998"/>
              <a:gd name="connsiteX32" fmla="*/ 276222 w 8114398"/>
              <a:gd name="connsiteY32" fmla="*/ 838514 h 6857998"/>
              <a:gd name="connsiteX33" fmla="*/ 251457 w 8114398"/>
              <a:gd name="connsiteY33" fmla="*/ 838514 h 6857998"/>
              <a:gd name="connsiteX34" fmla="*/ 337182 w 8114398"/>
              <a:gd name="connsiteY34" fmla="*/ 808034 h 6857998"/>
              <a:gd name="connsiteX35" fmla="*/ 346707 w 8114398"/>
              <a:gd name="connsiteY35" fmla="*/ 828989 h 6857998"/>
              <a:gd name="connsiteX36" fmla="*/ 327658 w 8114398"/>
              <a:gd name="connsiteY36" fmla="*/ 828989 h 6857998"/>
              <a:gd name="connsiteX37" fmla="*/ 518158 w 8114398"/>
              <a:gd name="connsiteY37" fmla="*/ 806129 h 6857998"/>
              <a:gd name="connsiteX38" fmla="*/ 538160 w 8114398"/>
              <a:gd name="connsiteY38" fmla="*/ 806129 h 6857998"/>
              <a:gd name="connsiteX39" fmla="*/ 543875 w 8114398"/>
              <a:gd name="connsiteY39" fmla="*/ 810892 h 6857998"/>
              <a:gd name="connsiteX40" fmla="*/ 538160 w 8114398"/>
              <a:gd name="connsiteY40" fmla="*/ 816608 h 6857998"/>
              <a:gd name="connsiteX41" fmla="*/ 518158 w 8114398"/>
              <a:gd name="connsiteY41" fmla="*/ 816608 h 6857998"/>
              <a:gd name="connsiteX42" fmla="*/ 518158 w 8114398"/>
              <a:gd name="connsiteY42" fmla="*/ 806129 h 6857998"/>
              <a:gd name="connsiteX43" fmla="*/ 251457 w 8114398"/>
              <a:gd name="connsiteY43" fmla="*/ 806129 h 6857998"/>
              <a:gd name="connsiteX44" fmla="*/ 275269 w 8114398"/>
              <a:gd name="connsiteY44" fmla="*/ 806129 h 6857998"/>
              <a:gd name="connsiteX45" fmla="*/ 280032 w 8114398"/>
              <a:gd name="connsiteY45" fmla="*/ 810892 h 6857998"/>
              <a:gd name="connsiteX46" fmla="*/ 275269 w 8114398"/>
              <a:gd name="connsiteY46" fmla="*/ 815654 h 6857998"/>
              <a:gd name="connsiteX47" fmla="*/ 251457 w 8114398"/>
              <a:gd name="connsiteY47" fmla="*/ 815654 h 6857998"/>
              <a:gd name="connsiteX48" fmla="*/ 361948 w 8114398"/>
              <a:gd name="connsiteY48" fmla="*/ 793748 h 6857998"/>
              <a:gd name="connsiteX49" fmla="*/ 388618 w 8114398"/>
              <a:gd name="connsiteY49" fmla="*/ 830895 h 6857998"/>
              <a:gd name="connsiteX50" fmla="*/ 388618 w 8114398"/>
              <a:gd name="connsiteY50" fmla="*/ 850898 h 6857998"/>
              <a:gd name="connsiteX51" fmla="*/ 401953 w 8114398"/>
              <a:gd name="connsiteY51" fmla="*/ 850898 h 6857998"/>
              <a:gd name="connsiteX52" fmla="*/ 401953 w 8114398"/>
              <a:gd name="connsiteY52" fmla="*/ 830895 h 6857998"/>
              <a:gd name="connsiteX53" fmla="*/ 428623 w 8114398"/>
              <a:gd name="connsiteY53" fmla="*/ 793748 h 6857998"/>
              <a:gd name="connsiteX54" fmla="*/ 413383 w 8114398"/>
              <a:gd name="connsiteY54" fmla="*/ 793748 h 6857998"/>
              <a:gd name="connsiteX55" fmla="*/ 394333 w 8114398"/>
              <a:gd name="connsiteY55" fmla="*/ 819465 h 6857998"/>
              <a:gd name="connsiteX56" fmla="*/ 377188 w 8114398"/>
              <a:gd name="connsiteY56" fmla="*/ 793748 h 6857998"/>
              <a:gd name="connsiteX57" fmla="*/ 438148 w 8114398"/>
              <a:gd name="connsiteY57" fmla="*/ 793748 h 6857998"/>
              <a:gd name="connsiteX58" fmla="*/ 438148 w 8114398"/>
              <a:gd name="connsiteY58" fmla="*/ 850898 h 6857998"/>
              <a:gd name="connsiteX59" fmla="*/ 495298 w 8114398"/>
              <a:gd name="connsiteY59" fmla="*/ 850898 h 6857998"/>
              <a:gd name="connsiteX60" fmla="*/ 495298 w 8114398"/>
              <a:gd name="connsiteY60" fmla="*/ 839468 h 6857998"/>
              <a:gd name="connsiteX61" fmla="*/ 452435 w 8114398"/>
              <a:gd name="connsiteY61" fmla="*/ 839468 h 6857998"/>
              <a:gd name="connsiteX62" fmla="*/ 452435 w 8114398"/>
              <a:gd name="connsiteY62" fmla="*/ 828038 h 6857998"/>
              <a:gd name="connsiteX63" fmla="*/ 493393 w 8114398"/>
              <a:gd name="connsiteY63" fmla="*/ 828038 h 6857998"/>
              <a:gd name="connsiteX64" fmla="*/ 493393 w 8114398"/>
              <a:gd name="connsiteY64" fmla="*/ 816608 h 6857998"/>
              <a:gd name="connsiteX65" fmla="*/ 452435 w 8114398"/>
              <a:gd name="connsiteY65" fmla="*/ 816608 h 6857998"/>
              <a:gd name="connsiteX66" fmla="*/ 452435 w 8114398"/>
              <a:gd name="connsiteY66" fmla="*/ 807083 h 6857998"/>
              <a:gd name="connsiteX67" fmla="*/ 495298 w 8114398"/>
              <a:gd name="connsiteY67" fmla="*/ 807083 h 6857998"/>
              <a:gd name="connsiteX68" fmla="*/ 495298 w 8114398"/>
              <a:gd name="connsiteY68" fmla="*/ 793748 h 6857998"/>
              <a:gd name="connsiteX69" fmla="*/ 504823 w 8114398"/>
              <a:gd name="connsiteY69" fmla="*/ 793747 h 6857998"/>
              <a:gd name="connsiteX70" fmla="*/ 504823 w 8114398"/>
              <a:gd name="connsiteY70" fmla="*/ 850897 h 6857998"/>
              <a:gd name="connsiteX71" fmla="*/ 518158 w 8114398"/>
              <a:gd name="connsiteY71" fmla="*/ 850897 h 6857998"/>
              <a:gd name="connsiteX72" fmla="*/ 518158 w 8114398"/>
              <a:gd name="connsiteY72" fmla="*/ 828989 h 6857998"/>
              <a:gd name="connsiteX73" fmla="*/ 528635 w 8114398"/>
              <a:gd name="connsiteY73" fmla="*/ 828989 h 6857998"/>
              <a:gd name="connsiteX74" fmla="*/ 545780 w 8114398"/>
              <a:gd name="connsiteY74" fmla="*/ 850897 h 6857998"/>
              <a:gd name="connsiteX75" fmla="*/ 561973 w 8114398"/>
              <a:gd name="connsiteY75" fmla="*/ 850897 h 6857998"/>
              <a:gd name="connsiteX76" fmla="*/ 545780 w 8114398"/>
              <a:gd name="connsiteY76" fmla="*/ 828989 h 6857998"/>
              <a:gd name="connsiteX77" fmla="*/ 558163 w 8114398"/>
              <a:gd name="connsiteY77" fmla="*/ 811844 h 6857998"/>
              <a:gd name="connsiteX78" fmla="*/ 540065 w 8114398"/>
              <a:gd name="connsiteY78" fmla="*/ 793747 h 6857998"/>
              <a:gd name="connsiteX79" fmla="*/ 504823 w 8114398"/>
              <a:gd name="connsiteY79" fmla="*/ 793747 h 6857998"/>
              <a:gd name="connsiteX80" fmla="*/ 331468 w 8114398"/>
              <a:gd name="connsiteY80" fmla="*/ 793747 h 6857998"/>
              <a:gd name="connsiteX81" fmla="*/ 304798 w 8114398"/>
              <a:gd name="connsiteY81" fmla="*/ 850897 h 6857998"/>
              <a:gd name="connsiteX82" fmla="*/ 319084 w 8114398"/>
              <a:gd name="connsiteY82" fmla="*/ 850897 h 6857998"/>
              <a:gd name="connsiteX83" fmla="*/ 321943 w 8114398"/>
              <a:gd name="connsiteY83" fmla="*/ 841372 h 6857998"/>
              <a:gd name="connsiteX84" fmla="*/ 352422 w 8114398"/>
              <a:gd name="connsiteY84" fmla="*/ 841372 h 6857998"/>
              <a:gd name="connsiteX85" fmla="*/ 357184 w 8114398"/>
              <a:gd name="connsiteY85" fmla="*/ 850897 h 6857998"/>
              <a:gd name="connsiteX86" fmla="*/ 371472 w 8114398"/>
              <a:gd name="connsiteY86" fmla="*/ 850897 h 6857998"/>
              <a:gd name="connsiteX87" fmla="*/ 343849 w 8114398"/>
              <a:gd name="connsiteY87" fmla="*/ 793747 h 6857998"/>
              <a:gd name="connsiteX88" fmla="*/ 238122 w 8114398"/>
              <a:gd name="connsiteY88" fmla="*/ 793747 h 6857998"/>
              <a:gd name="connsiteX89" fmla="*/ 238122 w 8114398"/>
              <a:gd name="connsiteY89" fmla="*/ 850897 h 6857998"/>
              <a:gd name="connsiteX90" fmla="*/ 278127 w 8114398"/>
              <a:gd name="connsiteY90" fmla="*/ 850897 h 6857998"/>
              <a:gd name="connsiteX91" fmla="*/ 295272 w 8114398"/>
              <a:gd name="connsiteY91" fmla="*/ 833752 h 6857998"/>
              <a:gd name="connsiteX92" fmla="*/ 289557 w 8114398"/>
              <a:gd name="connsiteY92" fmla="*/ 821369 h 6857998"/>
              <a:gd name="connsiteX93" fmla="*/ 293367 w 8114398"/>
              <a:gd name="connsiteY93" fmla="*/ 810892 h 6857998"/>
              <a:gd name="connsiteX94" fmla="*/ 277174 w 8114398"/>
              <a:gd name="connsiteY94" fmla="*/ 793747 h 6857998"/>
              <a:gd name="connsiteX95" fmla="*/ 238122 w 8114398"/>
              <a:gd name="connsiteY95" fmla="*/ 793747 h 6857998"/>
              <a:gd name="connsiteX96" fmla="*/ 394333 w 8114398"/>
              <a:gd name="connsiteY96" fmla="*/ 741360 h 6857998"/>
              <a:gd name="connsiteX97" fmla="*/ 404810 w 8114398"/>
              <a:gd name="connsiteY97" fmla="*/ 762315 h 6857998"/>
              <a:gd name="connsiteX98" fmla="*/ 384808 w 8114398"/>
              <a:gd name="connsiteY98" fmla="*/ 762315 h 6857998"/>
              <a:gd name="connsiteX99" fmla="*/ 388618 w 8114398"/>
              <a:gd name="connsiteY99" fmla="*/ 727073 h 6857998"/>
              <a:gd name="connsiteX100" fmla="*/ 361948 w 8114398"/>
              <a:gd name="connsiteY100" fmla="*/ 784223 h 6857998"/>
              <a:gd name="connsiteX101" fmla="*/ 375283 w 8114398"/>
              <a:gd name="connsiteY101" fmla="*/ 784223 h 6857998"/>
              <a:gd name="connsiteX102" fmla="*/ 380045 w 8114398"/>
              <a:gd name="connsiteY102" fmla="*/ 774698 h 6857998"/>
              <a:gd name="connsiteX103" fmla="*/ 409573 w 8114398"/>
              <a:gd name="connsiteY103" fmla="*/ 774698 h 6857998"/>
              <a:gd name="connsiteX104" fmla="*/ 414335 w 8114398"/>
              <a:gd name="connsiteY104" fmla="*/ 784223 h 6857998"/>
              <a:gd name="connsiteX105" fmla="*/ 428623 w 8114398"/>
              <a:gd name="connsiteY105" fmla="*/ 784223 h 6857998"/>
              <a:gd name="connsiteX106" fmla="*/ 401000 w 8114398"/>
              <a:gd name="connsiteY106" fmla="*/ 727073 h 6857998"/>
              <a:gd name="connsiteX107" fmla="*/ 384808 w 8114398"/>
              <a:gd name="connsiteY107" fmla="*/ 693735 h 6857998"/>
              <a:gd name="connsiteX108" fmla="*/ 409573 w 8114398"/>
              <a:gd name="connsiteY108" fmla="*/ 693735 h 6857998"/>
              <a:gd name="connsiteX109" fmla="*/ 415288 w 8114398"/>
              <a:gd name="connsiteY109" fmla="*/ 699450 h 6857998"/>
              <a:gd name="connsiteX110" fmla="*/ 409573 w 8114398"/>
              <a:gd name="connsiteY110" fmla="*/ 705165 h 6857998"/>
              <a:gd name="connsiteX111" fmla="*/ 384808 w 8114398"/>
              <a:gd name="connsiteY111" fmla="*/ 705165 h 6857998"/>
              <a:gd name="connsiteX112" fmla="*/ 384808 w 8114398"/>
              <a:gd name="connsiteY112" fmla="*/ 672780 h 6857998"/>
              <a:gd name="connsiteX113" fmla="*/ 408620 w 8114398"/>
              <a:gd name="connsiteY113" fmla="*/ 672780 h 6857998"/>
              <a:gd name="connsiteX114" fmla="*/ 413383 w 8114398"/>
              <a:gd name="connsiteY114" fmla="*/ 677543 h 6857998"/>
              <a:gd name="connsiteX115" fmla="*/ 408620 w 8114398"/>
              <a:gd name="connsiteY115" fmla="*/ 682305 h 6857998"/>
              <a:gd name="connsiteX116" fmla="*/ 384808 w 8114398"/>
              <a:gd name="connsiteY116" fmla="*/ 682305 h 6857998"/>
              <a:gd name="connsiteX117" fmla="*/ 371473 w 8114398"/>
              <a:gd name="connsiteY117" fmla="*/ 660398 h 6857998"/>
              <a:gd name="connsiteX118" fmla="*/ 371473 w 8114398"/>
              <a:gd name="connsiteY118" fmla="*/ 717548 h 6857998"/>
              <a:gd name="connsiteX119" fmla="*/ 411478 w 8114398"/>
              <a:gd name="connsiteY119" fmla="*/ 717548 h 6857998"/>
              <a:gd name="connsiteX120" fmla="*/ 428623 w 8114398"/>
              <a:gd name="connsiteY120" fmla="*/ 700403 h 6857998"/>
              <a:gd name="connsiteX121" fmla="*/ 422908 w 8114398"/>
              <a:gd name="connsiteY121" fmla="*/ 688020 h 6857998"/>
              <a:gd name="connsiteX122" fmla="*/ 427670 w 8114398"/>
              <a:gd name="connsiteY122" fmla="*/ 676590 h 6857998"/>
              <a:gd name="connsiteX123" fmla="*/ 410525 w 8114398"/>
              <a:gd name="connsiteY123" fmla="*/ 660398 h 6857998"/>
              <a:gd name="connsiteX124" fmla="*/ 371473 w 8114398"/>
              <a:gd name="connsiteY124" fmla="*/ 660398 h 6857998"/>
              <a:gd name="connsiteX125" fmla="*/ 400049 w 8114398"/>
              <a:gd name="connsiteY125" fmla="*/ 644683 h 6857998"/>
              <a:gd name="connsiteX126" fmla="*/ 575309 w 8114398"/>
              <a:gd name="connsiteY126" fmla="*/ 822800 h 6857998"/>
              <a:gd name="connsiteX127" fmla="*/ 400049 w 8114398"/>
              <a:gd name="connsiteY127" fmla="*/ 996155 h 6857998"/>
              <a:gd name="connsiteX128" fmla="*/ 224789 w 8114398"/>
              <a:gd name="connsiteY128" fmla="*/ 819943 h 6857998"/>
              <a:gd name="connsiteX129" fmla="*/ 400049 w 8114398"/>
              <a:gd name="connsiteY129" fmla="*/ 644683 h 6857998"/>
              <a:gd name="connsiteX130" fmla="*/ 400049 w 8114398"/>
              <a:gd name="connsiteY130" fmla="*/ 619918 h 6857998"/>
              <a:gd name="connsiteX131" fmla="*/ 200024 w 8114398"/>
              <a:gd name="connsiteY131" fmla="*/ 819943 h 6857998"/>
              <a:gd name="connsiteX132" fmla="*/ 400049 w 8114398"/>
              <a:gd name="connsiteY132" fmla="*/ 1019968 h 6857998"/>
              <a:gd name="connsiteX133" fmla="*/ 600074 w 8114398"/>
              <a:gd name="connsiteY133" fmla="*/ 819943 h 6857998"/>
              <a:gd name="connsiteX134" fmla="*/ 400049 w 8114398"/>
              <a:gd name="connsiteY134" fmla="*/ 619918 h 6857998"/>
              <a:gd name="connsiteX135" fmla="*/ 6285641 w 8114398"/>
              <a:gd name="connsiteY135" fmla="*/ 0 h 6857998"/>
              <a:gd name="connsiteX136" fmla="*/ 8114398 w 8114398"/>
              <a:gd name="connsiteY136" fmla="*/ 0 h 6857998"/>
              <a:gd name="connsiteX137" fmla="*/ 8114398 w 8114398"/>
              <a:gd name="connsiteY137" fmla="*/ 6857998 h 6857998"/>
              <a:gd name="connsiteX138" fmla="*/ 3780054 w 8114398"/>
              <a:gd name="connsiteY138" fmla="*/ 6857998 h 6857998"/>
              <a:gd name="connsiteX139" fmla="*/ 0 w 8114398"/>
              <a:gd name="connsiteY139" fmla="*/ 0 h 6857998"/>
              <a:gd name="connsiteX140" fmla="*/ 6266477 w 8114398"/>
              <a:gd name="connsiteY140" fmla="*/ 0 h 6857998"/>
              <a:gd name="connsiteX141" fmla="*/ 3760890 w 8114398"/>
              <a:gd name="connsiteY141" fmla="*/ 6857998 h 6857998"/>
              <a:gd name="connsiteX142" fmla="*/ 0 w 8114398"/>
              <a:gd name="connsiteY142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</a:cxnLst>
            <a:rect l="l" t="t" r="r" b="b"/>
            <a:pathLst>
              <a:path w="8114398" h="6857998">
                <a:moveTo>
                  <a:pt x="385599" y="941860"/>
                </a:moveTo>
                <a:cubicBezTo>
                  <a:pt x="385599" y="941860"/>
                  <a:pt x="385599" y="941860"/>
                  <a:pt x="405601" y="941860"/>
                </a:cubicBezTo>
                <a:cubicBezTo>
                  <a:pt x="408459" y="941860"/>
                  <a:pt x="411316" y="944718"/>
                  <a:pt x="411316" y="946623"/>
                </a:cubicBezTo>
                <a:cubicBezTo>
                  <a:pt x="411316" y="950433"/>
                  <a:pt x="408459" y="952338"/>
                  <a:pt x="405601" y="952338"/>
                </a:cubicBezTo>
                <a:cubicBezTo>
                  <a:pt x="405601" y="952338"/>
                  <a:pt x="405601" y="952338"/>
                  <a:pt x="385599" y="952338"/>
                </a:cubicBezTo>
                <a:cubicBezTo>
                  <a:pt x="385599" y="952338"/>
                  <a:pt x="385599" y="952338"/>
                  <a:pt x="385599" y="941860"/>
                </a:cubicBezTo>
                <a:close/>
                <a:moveTo>
                  <a:pt x="372264" y="929478"/>
                </a:moveTo>
                <a:cubicBezTo>
                  <a:pt x="372264" y="929478"/>
                  <a:pt x="372264" y="929478"/>
                  <a:pt x="372264" y="986628"/>
                </a:cubicBezTo>
                <a:cubicBezTo>
                  <a:pt x="372264" y="986628"/>
                  <a:pt x="372264" y="986628"/>
                  <a:pt x="385599" y="986628"/>
                </a:cubicBezTo>
                <a:cubicBezTo>
                  <a:pt x="385599" y="986628"/>
                  <a:pt x="385599" y="986628"/>
                  <a:pt x="385599" y="964720"/>
                </a:cubicBezTo>
                <a:cubicBezTo>
                  <a:pt x="385599" y="964720"/>
                  <a:pt x="385599" y="964720"/>
                  <a:pt x="396076" y="964720"/>
                </a:cubicBezTo>
                <a:lnTo>
                  <a:pt x="413221" y="986628"/>
                </a:lnTo>
                <a:cubicBezTo>
                  <a:pt x="413221" y="986628"/>
                  <a:pt x="413221" y="986628"/>
                  <a:pt x="429414" y="986628"/>
                </a:cubicBezTo>
                <a:cubicBezTo>
                  <a:pt x="429414" y="986628"/>
                  <a:pt x="429414" y="986628"/>
                  <a:pt x="413221" y="964720"/>
                </a:cubicBezTo>
                <a:cubicBezTo>
                  <a:pt x="419889" y="962815"/>
                  <a:pt x="425604" y="956148"/>
                  <a:pt x="425604" y="947575"/>
                </a:cubicBezTo>
                <a:cubicBezTo>
                  <a:pt x="425604" y="937098"/>
                  <a:pt x="417031" y="929478"/>
                  <a:pt x="407506" y="929478"/>
                </a:cubicBezTo>
                <a:cubicBezTo>
                  <a:pt x="407506" y="929478"/>
                  <a:pt x="407506" y="929478"/>
                  <a:pt x="372264" y="929478"/>
                </a:cubicBezTo>
                <a:close/>
                <a:moveTo>
                  <a:pt x="371472" y="860422"/>
                </a:moveTo>
                <a:lnTo>
                  <a:pt x="371472" y="917572"/>
                </a:lnTo>
                <a:lnTo>
                  <a:pt x="419097" y="917572"/>
                </a:lnTo>
                <a:lnTo>
                  <a:pt x="419097" y="906142"/>
                </a:lnTo>
                <a:lnTo>
                  <a:pt x="383854" y="906142"/>
                </a:lnTo>
                <a:lnTo>
                  <a:pt x="383854" y="893759"/>
                </a:lnTo>
                <a:lnTo>
                  <a:pt x="417192" y="893759"/>
                </a:lnTo>
                <a:lnTo>
                  <a:pt x="417192" y="882329"/>
                </a:lnTo>
                <a:lnTo>
                  <a:pt x="383854" y="882329"/>
                </a:lnTo>
                <a:lnTo>
                  <a:pt x="383854" y="871852"/>
                </a:lnTo>
                <a:lnTo>
                  <a:pt x="419097" y="871852"/>
                </a:lnTo>
                <a:lnTo>
                  <a:pt x="419097" y="860422"/>
                </a:lnTo>
                <a:close/>
                <a:moveTo>
                  <a:pt x="251457" y="827084"/>
                </a:moveTo>
                <a:cubicBezTo>
                  <a:pt x="251457" y="827084"/>
                  <a:pt x="251457" y="827084"/>
                  <a:pt x="276222" y="827084"/>
                </a:cubicBezTo>
                <a:cubicBezTo>
                  <a:pt x="279079" y="827084"/>
                  <a:pt x="281937" y="829942"/>
                  <a:pt x="281937" y="832799"/>
                </a:cubicBezTo>
                <a:cubicBezTo>
                  <a:pt x="281937" y="836609"/>
                  <a:pt x="279079" y="838514"/>
                  <a:pt x="276222" y="838514"/>
                </a:cubicBezTo>
                <a:cubicBezTo>
                  <a:pt x="276222" y="838514"/>
                  <a:pt x="276222" y="838514"/>
                  <a:pt x="251457" y="838514"/>
                </a:cubicBezTo>
                <a:close/>
                <a:moveTo>
                  <a:pt x="337182" y="808034"/>
                </a:moveTo>
                <a:lnTo>
                  <a:pt x="346707" y="828989"/>
                </a:lnTo>
                <a:lnTo>
                  <a:pt x="327658" y="828989"/>
                </a:lnTo>
                <a:close/>
                <a:moveTo>
                  <a:pt x="518158" y="806129"/>
                </a:moveTo>
                <a:cubicBezTo>
                  <a:pt x="518158" y="806129"/>
                  <a:pt x="518158" y="806129"/>
                  <a:pt x="538160" y="806129"/>
                </a:cubicBezTo>
                <a:cubicBezTo>
                  <a:pt x="541018" y="806129"/>
                  <a:pt x="543875" y="808987"/>
                  <a:pt x="543875" y="810892"/>
                </a:cubicBezTo>
                <a:cubicBezTo>
                  <a:pt x="543875" y="814702"/>
                  <a:pt x="541018" y="816608"/>
                  <a:pt x="538160" y="816608"/>
                </a:cubicBezTo>
                <a:cubicBezTo>
                  <a:pt x="538160" y="816608"/>
                  <a:pt x="538160" y="816608"/>
                  <a:pt x="518158" y="816608"/>
                </a:cubicBezTo>
                <a:cubicBezTo>
                  <a:pt x="518158" y="816608"/>
                  <a:pt x="518158" y="816608"/>
                  <a:pt x="518158" y="806129"/>
                </a:cubicBezTo>
                <a:close/>
                <a:moveTo>
                  <a:pt x="251457" y="806129"/>
                </a:moveTo>
                <a:cubicBezTo>
                  <a:pt x="251457" y="806129"/>
                  <a:pt x="251457" y="806129"/>
                  <a:pt x="275269" y="806129"/>
                </a:cubicBezTo>
                <a:cubicBezTo>
                  <a:pt x="278127" y="806129"/>
                  <a:pt x="280032" y="808034"/>
                  <a:pt x="280032" y="810892"/>
                </a:cubicBezTo>
                <a:cubicBezTo>
                  <a:pt x="280032" y="813749"/>
                  <a:pt x="278127" y="815654"/>
                  <a:pt x="275269" y="815654"/>
                </a:cubicBezTo>
                <a:cubicBezTo>
                  <a:pt x="275269" y="815654"/>
                  <a:pt x="275269" y="815654"/>
                  <a:pt x="251457" y="815654"/>
                </a:cubicBezTo>
                <a:close/>
                <a:moveTo>
                  <a:pt x="361948" y="793748"/>
                </a:moveTo>
                <a:lnTo>
                  <a:pt x="388618" y="830895"/>
                </a:lnTo>
                <a:lnTo>
                  <a:pt x="388618" y="850898"/>
                </a:lnTo>
                <a:lnTo>
                  <a:pt x="401953" y="850898"/>
                </a:lnTo>
                <a:lnTo>
                  <a:pt x="401953" y="830895"/>
                </a:lnTo>
                <a:lnTo>
                  <a:pt x="428623" y="793748"/>
                </a:lnTo>
                <a:lnTo>
                  <a:pt x="413383" y="793748"/>
                </a:lnTo>
                <a:lnTo>
                  <a:pt x="394333" y="819465"/>
                </a:lnTo>
                <a:lnTo>
                  <a:pt x="377188" y="793748"/>
                </a:lnTo>
                <a:close/>
                <a:moveTo>
                  <a:pt x="438148" y="793748"/>
                </a:moveTo>
                <a:lnTo>
                  <a:pt x="438148" y="850898"/>
                </a:lnTo>
                <a:lnTo>
                  <a:pt x="495298" y="850898"/>
                </a:lnTo>
                <a:lnTo>
                  <a:pt x="495298" y="839468"/>
                </a:lnTo>
                <a:lnTo>
                  <a:pt x="452435" y="839468"/>
                </a:lnTo>
                <a:lnTo>
                  <a:pt x="452435" y="828038"/>
                </a:lnTo>
                <a:lnTo>
                  <a:pt x="493393" y="828038"/>
                </a:lnTo>
                <a:lnTo>
                  <a:pt x="493393" y="816608"/>
                </a:lnTo>
                <a:lnTo>
                  <a:pt x="452435" y="816608"/>
                </a:lnTo>
                <a:lnTo>
                  <a:pt x="452435" y="807083"/>
                </a:lnTo>
                <a:lnTo>
                  <a:pt x="495298" y="807083"/>
                </a:lnTo>
                <a:lnTo>
                  <a:pt x="495298" y="793748"/>
                </a:lnTo>
                <a:close/>
                <a:moveTo>
                  <a:pt x="504823" y="793747"/>
                </a:moveTo>
                <a:cubicBezTo>
                  <a:pt x="504823" y="793747"/>
                  <a:pt x="504823" y="793747"/>
                  <a:pt x="504823" y="850897"/>
                </a:cubicBezTo>
                <a:cubicBezTo>
                  <a:pt x="504823" y="850897"/>
                  <a:pt x="504823" y="850897"/>
                  <a:pt x="518158" y="850897"/>
                </a:cubicBezTo>
                <a:cubicBezTo>
                  <a:pt x="518158" y="850897"/>
                  <a:pt x="518158" y="850897"/>
                  <a:pt x="518158" y="828989"/>
                </a:cubicBezTo>
                <a:cubicBezTo>
                  <a:pt x="518158" y="828989"/>
                  <a:pt x="518158" y="828989"/>
                  <a:pt x="528635" y="828989"/>
                </a:cubicBezTo>
                <a:lnTo>
                  <a:pt x="545780" y="850897"/>
                </a:lnTo>
                <a:cubicBezTo>
                  <a:pt x="545780" y="850897"/>
                  <a:pt x="545780" y="850897"/>
                  <a:pt x="561973" y="850897"/>
                </a:cubicBezTo>
                <a:cubicBezTo>
                  <a:pt x="561973" y="850897"/>
                  <a:pt x="561973" y="850897"/>
                  <a:pt x="545780" y="828989"/>
                </a:cubicBezTo>
                <a:cubicBezTo>
                  <a:pt x="552448" y="827084"/>
                  <a:pt x="558163" y="820417"/>
                  <a:pt x="558163" y="811844"/>
                </a:cubicBezTo>
                <a:cubicBezTo>
                  <a:pt x="558163" y="801368"/>
                  <a:pt x="549590" y="793747"/>
                  <a:pt x="540065" y="793747"/>
                </a:cubicBezTo>
                <a:cubicBezTo>
                  <a:pt x="540065" y="793747"/>
                  <a:pt x="540065" y="793747"/>
                  <a:pt x="504823" y="793747"/>
                </a:cubicBezTo>
                <a:close/>
                <a:moveTo>
                  <a:pt x="331468" y="793747"/>
                </a:moveTo>
                <a:lnTo>
                  <a:pt x="304798" y="850897"/>
                </a:lnTo>
                <a:lnTo>
                  <a:pt x="319084" y="850897"/>
                </a:lnTo>
                <a:lnTo>
                  <a:pt x="321943" y="841372"/>
                </a:lnTo>
                <a:lnTo>
                  <a:pt x="352422" y="841372"/>
                </a:lnTo>
                <a:lnTo>
                  <a:pt x="357184" y="850897"/>
                </a:lnTo>
                <a:lnTo>
                  <a:pt x="371472" y="850897"/>
                </a:lnTo>
                <a:lnTo>
                  <a:pt x="343849" y="793747"/>
                </a:lnTo>
                <a:close/>
                <a:moveTo>
                  <a:pt x="238122" y="793747"/>
                </a:moveTo>
                <a:cubicBezTo>
                  <a:pt x="238122" y="793747"/>
                  <a:pt x="238122" y="793747"/>
                  <a:pt x="238122" y="850897"/>
                </a:cubicBezTo>
                <a:cubicBezTo>
                  <a:pt x="238122" y="850897"/>
                  <a:pt x="238122" y="850897"/>
                  <a:pt x="278127" y="850897"/>
                </a:cubicBezTo>
                <a:cubicBezTo>
                  <a:pt x="287652" y="850897"/>
                  <a:pt x="295272" y="843277"/>
                  <a:pt x="295272" y="833752"/>
                </a:cubicBezTo>
                <a:cubicBezTo>
                  <a:pt x="295272" y="828989"/>
                  <a:pt x="293367" y="824227"/>
                  <a:pt x="289557" y="821369"/>
                </a:cubicBezTo>
                <a:cubicBezTo>
                  <a:pt x="292414" y="818512"/>
                  <a:pt x="293367" y="814702"/>
                  <a:pt x="293367" y="810892"/>
                </a:cubicBezTo>
                <a:cubicBezTo>
                  <a:pt x="293367" y="801367"/>
                  <a:pt x="286699" y="793747"/>
                  <a:pt x="277174" y="793747"/>
                </a:cubicBezTo>
                <a:cubicBezTo>
                  <a:pt x="277174" y="793747"/>
                  <a:pt x="277174" y="793747"/>
                  <a:pt x="238122" y="793747"/>
                </a:cubicBezTo>
                <a:close/>
                <a:moveTo>
                  <a:pt x="394333" y="741360"/>
                </a:moveTo>
                <a:lnTo>
                  <a:pt x="404810" y="762315"/>
                </a:lnTo>
                <a:lnTo>
                  <a:pt x="384808" y="762315"/>
                </a:lnTo>
                <a:close/>
                <a:moveTo>
                  <a:pt x="388618" y="727073"/>
                </a:moveTo>
                <a:lnTo>
                  <a:pt x="361948" y="784223"/>
                </a:lnTo>
                <a:lnTo>
                  <a:pt x="375283" y="784223"/>
                </a:lnTo>
                <a:lnTo>
                  <a:pt x="380045" y="774698"/>
                </a:lnTo>
                <a:lnTo>
                  <a:pt x="409573" y="774698"/>
                </a:lnTo>
                <a:lnTo>
                  <a:pt x="414335" y="784223"/>
                </a:lnTo>
                <a:lnTo>
                  <a:pt x="428623" y="784223"/>
                </a:lnTo>
                <a:lnTo>
                  <a:pt x="401000" y="727073"/>
                </a:lnTo>
                <a:close/>
                <a:moveTo>
                  <a:pt x="384808" y="693735"/>
                </a:moveTo>
                <a:cubicBezTo>
                  <a:pt x="384808" y="693735"/>
                  <a:pt x="384808" y="693735"/>
                  <a:pt x="409573" y="693735"/>
                </a:cubicBezTo>
                <a:cubicBezTo>
                  <a:pt x="412430" y="693735"/>
                  <a:pt x="415288" y="696593"/>
                  <a:pt x="415288" y="699450"/>
                </a:cubicBezTo>
                <a:cubicBezTo>
                  <a:pt x="415288" y="703260"/>
                  <a:pt x="412430" y="705165"/>
                  <a:pt x="409573" y="705165"/>
                </a:cubicBezTo>
                <a:cubicBezTo>
                  <a:pt x="409573" y="705165"/>
                  <a:pt x="409573" y="705165"/>
                  <a:pt x="384808" y="705165"/>
                </a:cubicBezTo>
                <a:close/>
                <a:moveTo>
                  <a:pt x="384808" y="672780"/>
                </a:moveTo>
                <a:cubicBezTo>
                  <a:pt x="384808" y="672780"/>
                  <a:pt x="384808" y="672780"/>
                  <a:pt x="408620" y="672780"/>
                </a:cubicBezTo>
                <a:cubicBezTo>
                  <a:pt x="411478" y="672780"/>
                  <a:pt x="413383" y="674685"/>
                  <a:pt x="413383" y="677543"/>
                </a:cubicBezTo>
                <a:cubicBezTo>
                  <a:pt x="413383" y="680400"/>
                  <a:pt x="411478" y="682305"/>
                  <a:pt x="408620" y="682305"/>
                </a:cubicBezTo>
                <a:cubicBezTo>
                  <a:pt x="408620" y="682305"/>
                  <a:pt x="408620" y="682305"/>
                  <a:pt x="384808" y="682305"/>
                </a:cubicBezTo>
                <a:close/>
                <a:moveTo>
                  <a:pt x="371473" y="660398"/>
                </a:moveTo>
                <a:cubicBezTo>
                  <a:pt x="371473" y="660398"/>
                  <a:pt x="371473" y="660398"/>
                  <a:pt x="371473" y="717548"/>
                </a:cubicBezTo>
                <a:cubicBezTo>
                  <a:pt x="371473" y="717548"/>
                  <a:pt x="371473" y="717548"/>
                  <a:pt x="411478" y="717548"/>
                </a:cubicBezTo>
                <a:cubicBezTo>
                  <a:pt x="421003" y="717548"/>
                  <a:pt x="428623" y="709928"/>
                  <a:pt x="428623" y="700403"/>
                </a:cubicBezTo>
                <a:cubicBezTo>
                  <a:pt x="428623" y="695640"/>
                  <a:pt x="426718" y="690878"/>
                  <a:pt x="422908" y="688020"/>
                </a:cubicBezTo>
                <a:cubicBezTo>
                  <a:pt x="425765" y="685163"/>
                  <a:pt x="427670" y="681353"/>
                  <a:pt x="427670" y="676590"/>
                </a:cubicBezTo>
                <a:cubicBezTo>
                  <a:pt x="427670" y="668018"/>
                  <a:pt x="420050" y="660398"/>
                  <a:pt x="410525" y="660398"/>
                </a:cubicBezTo>
                <a:cubicBezTo>
                  <a:pt x="410525" y="660398"/>
                  <a:pt x="410525" y="660398"/>
                  <a:pt x="371473" y="660398"/>
                </a:cubicBezTo>
                <a:close/>
                <a:moveTo>
                  <a:pt x="400049" y="644683"/>
                </a:moveTo>
                <a:cubicBezTo>
                  <a:pt x="500061" y="644683"/>
                  <a:pt x="575309" y="721835"/>
                  <a:pt x="575309" y="822800"/>
                </a:cubicBezTo>
                <a:cubicBezTo>
                  <a:pt x="575309" y="922813"/>
                  <a:pt x="500061" y="996155"/>
                  <a:pt x="400049" y="996155"/>
                </a:cubicBezTo>
                <a:cubicBezTo>
                  <a:pt x="300036" y="996155"/>
                  <a:pt x="224789" y="919955"/>
                  <a:pt x="224789" y="819943"/>
                </a:cubicBezTo>
                <a:cubicBezTo>
                  <a:pt x="224789" y="719930"/>
                  <a:pt x="300036" y="644683"/>
                  <a:pt x="400049" y="644683"/>
                </a:cubicBezTo>
                <a:close/>
                <a:moveTo>
                  <a:pt x="400049" y="619918"/>
                </a:moveTo>
                <a:cubicBezTo>
                  <a:pt x="289559" y="619918"/>
                  <a:pt x="200024" y="709453"/>
                  <a:pt x="200024" y="819943"/>
                </a:cubicBezTo>
                <a:cubicBezTo>
                  <a:pt x="200024" y="930433"/>
                  <a:pt x="289559" y="1019968"/>
                  <a:pt x="400049" y="1019968"/>
                </a:cubicBezTo>
                <a:cubicBezTo>
                  <a:pt x="510539" y="1019968"/>
                  <a:pt x="600074" y="930433"/>
                  <a:pt x="600074" y="819943"/>
                </a:cubicBezTo>
                <a:cubicBezTo>
                  <a:pt x="600074" y="709453"/>
                  <a:pt x="510539" y="619918"/>
                  <a:pt x="400049" y="619918"/>
                </a:cubicBezTo>
                <a:close/>
                <a:moveTo>
                  <a:pt x="6285641" y="0"/>
                </a:moveTo>
                <a:lnTo>
                  <a:pt x="8114398" y="0"/>
                </a:lnTo>
                <a:lnTo>
                  <a:pt x="8114398" y="6857998"/>
                </a:lnTo>
                <a:lnTo>
                  <a:pt x="3780054" y="6857998"/>
                </a:lnTo>
                <a:close/>
                <a:moveTo>
                  <a:pt x="0" y="0"/>
                </a:moveTo>
                <a:lnTo>
                  <a:pt x="6266477" y="0"/>
                </a:lnTo>
                <a:lnTo>
                  <a:pt x="3760890" y="6857998"/>
                </a:lnTo>
                <a:lnTo>
                  <a:pt x="0" y="685799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tIns="684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72F8C671-FCED-47EE-98C9-6A63338A68C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3252810" y="0"/>
            <a:ext cx="5891190" cy="5143500"/>
          </a:xfrm>
          <a:custGeom>
            <a:avLst/>
            <a:gdLst>
              <a:gd name="connsiteX0" fmla="*/ 1945592 w 7853898"/>
              <a:gd name="connsiteY0" fmla="*/ 0 h 6858000"/>
              <a:gd name="connsiteX1" fmla="*/ 3777198 w 7853898"/>
              <a:gd name="connsiteY1" fmla="*/ 0 h 6858000"/>
              <a:gd name="connsiteX2" fmla="*/ 4658260 w 7853898"/>
              <a:gd name="connsiteY2" fmla="*/ 0 h 6858000"/>
              <a:gd name="connsiteX3" fmla="*/ 7853898 w 7853898"/>
              <a:gd name="connsiteY3" fmla="*/ 0 h 6858000"/>
              <a:gd name="connsiteX4" fmla="*/ 7853898 w 7853898"/>
              <a:gd name="connsiteY4" fmla="*/ 6858000 h 6858000"/>
              <a:gd name="connsiteX5" fmla="*/ 4658260 w 7853898"/>
              <a:gd name="connsiteY5" fmla="*/ 6858000 h 6858000"/>
              <a:gd name="connsiteX6" fmla="*/ 3777198 w 7853898"/>
              <a:gd name="connsiteY6" fmla="*/ 6858000 h 6858000"/>
              <a:gd name="connsiteX7" fmla="*/ 1327085 w 7853898"/>
              <a:gd name="connsiteY7" fmla="*/ 6858000 h 6858000"/>
              <a:gd name="connsiteX8" fmla="*/ 0 w 7853898"/>
              <a:gd name="connsiteY8" fmla="*/ 6858000 h 6858000"/>
              <a:gd name="connsiteX9" fmla="*/ 631152 w 7853898"/>
              <a:gd name="connsiteY9" fmla="*/ 3597203 h 6858000"/>
              <a:gd name="connsiteX10" fmla="*/ 1327085 w 7853898"/>
              <a:gd name="connsiteY10" fmla="*/ 0 h 6858000"/>
              <a:gd name="connsiteX11" fmla="*/ 1926428 w 7853898"/>
              <a:gd name="connsiteY11" fmla="*/ 0 h 6858000"/>
              <a:gd name="connsiteX12" fmla="*/ 652736 w 7853898"/>
              <a:gd name="connsiteY12" fmla="*/ 3485687 h 6858000"/>
              <a:gd name="connsiteX13" fmla="*/ 1327085 w 7853898"/>
              <a:gd name="connsiteY13" fmla="*/ 17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7853898" h="6858000">
                <a:moveTo>
                  <a:pt x="1945592" y="0"/>
                </a:moveTo>
                <a:lnTo>
                  <a:pt x="3777198" y="0"/>
                </a:lnTo>
                <a:lnTo>
                  <a:pt x="4658260" y="0"/>
                </a:lnTo>
                <a:lnTo>
                  <a:pt x="7853898" y="0"/>
                </a:lnTo>
                <a:lnTo>
                  <a:pt x="7853898" y="6858000"/>
                </a:lnTo>
                <a:lnTo>
                  <a:pt x="4658260" y="6858000"/>
                </a:lnTo>
                <a:lnTo>
                  <a:pt x="3777198" y="6858000"/>
                </a:lnTo>
                <a:lnTo>
                  <a:pt x="1327085" y="6858000"/>
                </a:lnTo>
                <a:lnTo>
                  <a:pt x="0" y="6858000"/>
                </a:lnTo>
                <a:lnTo>
                  <a:pt x="631152" y="3597203"/>
                </a:lnTo>
                <a:close/>
                <a:moveTo>
                  <a:pt x="1327085" y="0"/>
                </a:moveTo>
                <a:lnTo>
                  <a:pt x="1926428" y="0"/>
                </a:lnTo>
                <a:lnTo>
                  <a:pt x="652736" y="3485687"/>
                </a:lnTo>
                <a:lnTo>
                  <a:pt x="1327085" y="1712"/>
                </a:lnTo>
                <a:close/>
              </a:path>
            </a:pathLst>
          </a:custGeom>
          <a:gradFill>
            <a:gsLst>
              <a:gs pos="0">
                <a:srgbClr val="004422"/>
              </a:gs>
              <a:gs pos="54000">
                <a:srgbClr val="004422"/>
              </a:gs>
              <a:gs pos="100000">
                <a:srgbClr val="004422">
                  <a:alpha val="90000"/>
                </a:srgbClr>
              </a:gs>
            </a:gsLst>
            <a:lin ang="10800000" scaled="0"/>
          </a:gra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736461" y="136454"/>
            <a:ext cx="3914355" cy="64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cxnSp>
        <p:nvCxnSpPr>
          <p:cNvPr id="20" name="Straight Connector 19"/>
          <p:cNvCxnSpPr/>
          <p:nvPr userDrawn="1"/>
        </p:nvCxnSpPr>
        <p:spPr bwMode="blackGray">
          <a:xfrm flipV="1">
            <a:off x="2826260" y="0"/>
            <a:ext cx="1880500" cy="51435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blackGray"/>
        <p:txBody>
          <a:bodyPr/>
          <a:lstStyle/>
          <a:p>
            <a:fld id="{4B381BD6-5B9C-4D55-8E20-EDFC2D8DD1B0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MIO_VALID_LAYOUT" hidden="1">
            <a:extLst>
              <a:ext uri="{FF2B5EF4-FFF2-40B4-BE49-F238E27FC236}">
                <a16:creationId xmlns:a16="http://schemas.microsoft.com/office/drawing/2014/main" id="{31467912-1545-4993-9077-17D9670FB8B9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2B4303-08B3-4093-B75A-28E14949D5F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6461" y="853724"/>
            <a:ext cx="3917107" cy="189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7pPr>
            <a:lvl8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8pPr>
            <a:lvl9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A3C9942-1F1D-40F2-B346-46E7C3D4C76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Gray">
          <a:xfrm>
            <a:off x="4920343" y="1299563"/>
            <a:ext cx="3915510" cy="35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02500" indent="-202500">
              <a:buFontTx/>
              <a:buBlip>
                <a:blip r:embed="rId2"/>
              </a:buBlip>
              <a:defRPr lang="en-US" sz="135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05000" indent="-202500">
              <a:buFontTx/>
              <a:buBlip>
                <a:blip r:embed="rId2"/>
              </a:buBlip>
              <a:defRPr lang="en-US" sz="135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07500" indent="-202500">
              <a:buFontTx/>
              <a:buBlip>
                <a:blip r:embed="rId2"/>
              </a:buBlip>
              <a:defRPr lang="en-US" sz="135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10000" indent="-202500">
              <a:buFontTx/>
              <a:buBlip>
                <a:blip r:embed="rId2"/>
              </a:buBlip>
              <a:defRPr lang="en-US" sz="135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810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6pPr>
            <a:lvl7pPr marL="810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7pPr>
            <a:lvl8pPr marL="810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8pPr>
            <a:lvl9pPr marL="810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907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Image transparen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Picture Placeholder 75">
            <a:extLst>
              <a:ext uri="{FF2B5EF4-FFF2-40B4-BE49-F238E27FC236}">
                <a16:creationId xmlns:a16="http://schemas.microsoft.com/office/drawing/2014/main" id="{1D218D80-89C3-4B77-B293-2B851257A25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2" y="2"/>
            <a:ext cx="9143998" cy="5143499"/>
          </a:xfrm>
          <a:custGeom>
            <a:avLst/>
            <a:gdLst>
              <a:gd name="connsiteX0" fmla="*/ 384808 w 12190411"/>
              <a:gd name="connsiteY0" fmla="*/ 934719 h 6857999"/>
              <a:gd name="connsiteX1" fmla="*/ 405763 w 12190411"/>
              <a:gd name="connsiteY1" fmla="*/ 934719 h 6857999"/>
              <a:gd name="connsiteX2" fmla="*/ 410525 w 12190411"/>
              <a:gd name="connsiteY2" fmla="*/ 940434 h 6857999"/>
              <a:gd name="connsiteX3" fmla="*/ 405763 w 12190411"/>
              <a:gd name="connsiteY3" fmla="*/ 945197 h 6857999"/>
              <a:gd name="connsiteX4" fmla="*/ 384808 w 12190411"/>
              <a:gd name="connsiteY4" fmla="*/ 945197 h 6857999"/>
              <a:gd name="connsiteX5" fmla="*/ 384808 w 12190411"/>
              <a:gd name="connsiteY5" fmla="*/ 934719 h 6857999"/>
              <a:gd name="connsiteX6" fmla="*/ 371473 w 12190411"/>
              <a:gd name="connsiteY6" fmla="*/ 922337 h 6857999"/>
              <a:gd name="connsiteX7" fmla="*/ 371473 w 12190411"/>
              <a:gd name="connsiteY7" fmla="*/ 979487 h 6857999"/>
              <a:gd name="connsiteX8" fmla="*/ 383855 w 12190411"/>
              <a:gd name="connsiteY8" fmla="*/ 979487 h 6857999"/>
              <a:gd name="connsiteX9" fmla="*/ 383855 w 12190411"/>
              <a:gd name="connsiteY9" fmla="*/ 957579 h 6857999"/>
              <a:gd name="connsiteX10" fmla="*/ 398143 w 12190411"/>
              <a:gd name="connsiteY10" fmla="*/ 957579 h 6857999"/>
              <a:gd name="connsiteX11" fmla="*/ 413383 w 12190411"/>
              <a:gd name="connsiteY11" fmla="*/ 979487 h 6857999"/>
              <a:gd name="connsiteX12" fmla="*/ 428623 w 12190411"/>
              <a:gd name="connsiteY12" fmla="*/ 979487 h 6857999"/>
              <a:gd name="connsiteX13" fmla="*/ 412430 w 12190411"/>
              <a:gd name="connsiteY13" fmla="*/ 956627 h 6857999"/>
              <a:gd name="connsiteX14" fmla="*/ 422908 w 12190411"/>
              <a:gd name="connsiteY14" fmla="*/ 940434 h 6857999"/>
              <a:gd name="connsiteX15" fmla="*/ 406715 w 12190411"/>
              <a:gd name="connsiteY15" fmla="*/ 922337 h 6857999"/>
              <a:gd name="connsiteX16" fmla="*/ 371473 w 12190411"/>
              <a:gd name="connsiteY16" fmla="*/ 922337 h 6857999"/>
              <a:gd name="connsiteX17" fmla="*/ 371473 w 12190411"/>
              <a:gd name="connsiteY17" fmla="*/ 855662 h 6857999"/>
              <a:gd name="connsiteX18" fmla="*/ 371473 w 12190411"/>
              <a:gd name="connsiteY18" fmla="*/ 912812 h 6857999"/>
              <a:gd name="connsiteX19" fmla="*/ 419098 w 12190411"/>
              <a:gd name="connsiteY19" fmla="*/ 912812 h 6857999"/>
              <a:gd name="connsiteX20" fmla="*/ 419098 w 12190411"/>
              <a:gd name="connsiteY20" fmla="*/ 901382 h 6857999"/>
              <a:gd name="connsiteX21" fmla="*/ 383855 w 12190411"/>
              <a:gd name="connsiteY21" fmla="*/ 901382 h 6857999"/>
              <a:gd name="connsiteX22" fmla="*/ 383855 w 12190411"/>
              <a:gd name="connsiteY22" fmla="*/ 888999 h 6857999"/>
              <a:gd name="connsiteX23" fmla="*/ 417193 w 12190411"/>
              <a:gd name="connsiteY23" fmla="*/ 888999 h 6857999"/>
              <a:gd name="connsiteX24" fmla="*/ 417193 w 12190411"/>
              <a:gd name="connsiteY24" fmla="*/ 877569 h 6857999"/>
              <a:gd name="connsiteX25" fmla="*/ 383855 w 12190411"/>
              <a:gd name="connsiteY25" fmla="*/ 877569 h 6857999"/>
              <a:gd name="connsiteX26" fmla="*/ 383855 w 12190411"/>
              <a:gd name="connsiteY26" fmla="*/ 867092 h 6857999"/>
              <a:gd name="connsiteX27" fmla="*/ 419098 w 12190411"/>
              <a:gd name="connsiteY27" fmla="*/ 867092 h 6857999"/>
              <a:gd name="connsiteX28" fmla="*/ 419098 w 12190411"/>
              <a:gd name="connsiteY28" fmla="*/ 855662 h 6857999"/>
              <a:gd name="connsiteX29" fmla="*/ 251459 w 12190411"/>
              <a:gd name="connsiteY29" fmla="*/ 822324 h 6857999"/>
              <a:gd name="connsiteX30" fmla="*/ 276223 w 12190411"/>
              <a:gd name="connsiteY30" fmla="*/ 822324 h 6857999"/>
              <a:gd name="connsiteX31" fmla="*/ 281939 w 12190411"/>
              <a:gd name="connsiteY31" fmla="*/ 828039 h 6857999"/>
              <a:gd name="connsiteX32" fmla="*/ 276223 w 12190411"/>
              <a:gd name="connsiteY32" fmla="*/ 833754 h 6857999"/>
              <a:gd name="connsiteX33" fmla="*/ 251459 w 12190411"/>
              <a:gd name="connsiteY33" fmla="*/ 833754 h 6857999"/>
              <a:gd name="connsiteX34" fmla="*/ 332422 w 12190411"/>
              <a:gd name="connsiteY34" fmla="*/ 802322 h 6857999"/>
              <a:gd name="connsiteX35" fmla="*/ 341947 w 12190411"/>
              <a:gd name="connsiteY35" fmla="*/ 824229 h 6857999"/>
              <a:gd name="connsiteX36" fmla="*/ 322897 w 12190411"/>
              <a:gd name="connsiteY36" fmla="*/ 824229 h 6857999"/>
              <a:gd name="connsiteX37" fmla="*/ 518159 w 12190411"/>
              <a:gd name="connsiteY37" fmla="*/ 801370 h 6857999"/>
              <a:gd name="connsiteX38" fmla="*/ 538161 w 12190411"/>
              <a:gd name="connsiteY38" fmla="*/ 801370 h 6857999"/>
              <a:gd name="connsiteX39" fmla="*/ 543876 w 12190411"/>
              <a:gd name="connsiteY39" fmla="*/ 806133 h 6857999"/>
              <a:gd name="connsiteX40" fmla="*/ 538161 w 12190411"/>
              <a:gd name="connsiteY40" fmla="*/ 811848 h 6857999"/>
              <a:gd name="connsiteX41" fmla="*/ 518159 w 12190411"/>
              <a:gd name="connsiteY41" fmla="*/ 811848 h 6857999"/>
              <a:gd name="connsiteX42" fmla="*/ 518159 w 12190411"/>
              <a:gd name="connsiteY42" fmla="*/ 801370 h 6857999"/>
              <a:gd name="connsiteX43" fmla="*/ 251459 w 12190411"/>
              <a:gd name="connsiteY43" fmla="*/ 801369 h 6857999"/>
              <a:gd name="connsiteX44" fmla="*/ 275271 w 12190411"/>
              <a:gd name="connsiteY44" fmla="*/ 801369 h 6857999"/>
              <a:gd name="connsiteX45" fmla="*/ 280034 w 12190411"/>
              <a:gd name="connsiteY45" fmla="*/ 806132 h 6857999"/>
              <a:gd name="connsiteX46" fmla="*/ 275271 w 12190411"/>
              <a:gd name="connsiteY46" fmla="*/ 810894 h 6857999"/>
              <a:gd name="connsiteX47" fmla="*/ 251459 w 12190411"/>
              <a:gd name="connsiteY47" fmla="*/ 810894 h 6857999"/>
              <a:gd name="connsiteX48" fmla="*/ 438149 w 12190411"/>
              <a:gd name="connsiteY48" fmla="*/ 788988 h 6857999"/>
              <a:gd name="connsiteX49" fmla="*/ 438149 w 12190411"/>
              <a:gd name="connsiteY49" fmla="*/ 846138 h 6857999"/>
              <a:gd name="connsiteX50" fmla="*/ 485774 w 12190411"/>
              <a:gd name="connsiteY50" fmla="*/ 846138 h 6857999"/>
              <a:gd name="connsiteX51" fmla="*/ 485774 w 12190411"/>
              <a:gd name="connsiteY51" fmla="*/ 834708 h 6857999"/>
              <a:gd name="connsiteX52" fmla="*/ 450531 w 12190411"/>
              <a:gd name="connsiteY52" fmla="*/ 834708 h 6857999"/>
              <a:gd name="connsiteX53" fmla="*/ 450531 w 12190411"/>
              <a:gd name="connsiteY53" fmla="*/ 822325 h 6857999"/>
              <a:gd name="connsiteX54" fmla="*/ 485774 w 12190411"/>
              <a:gd name="connsiteY54" fmla="*/ 822325 h 6857999"/>
              <a:gd name="connsiteX55" fmla="*/ 485774 w 12190411"/>
              <a:gd name="connsiteY55" fmla="*/ 810895 h 6857999"/>
              <a:gd name="connsiteX56" fmla="*/ 450531 w 12190411"/>
              <a:gd name="connsiteY56" fmla="*/ 810895 h 6857999"/>
              <a:gd name="connsiteX57" fmla="*/ 450531 w 12190411"/>
              <a:gd name="connsiteY57" fmla="*/ 800418 h 6857999"/>
              <a:gd name="connsiteX58" fmla="*/ 485774 w 12190411"/>
              <a:gd name="connsiteY58" fmla="*/ 800418 h 6857999"/>
              <a:gd name="connsiteX59" fmla="*/ 485774 w 12190411"/>
              <a:gd name="connsiteY59" fmla="*/ 788988 h 6857999"/>
              <a:gd name="connsiteX60" fmla="*/ 361949 w 12190411"/>
              <a:gd name="connsiteY60" fmla="*/ 788988 h 6857999"/>
              <a:gd name="connsiteX61" fmla="*/ 388619 w 12190411"/>
              <a:gd name="connsiteY61" fmla="*/ 826135 h 6857999"/>
              <a:gd name="connsiteX62" fmla="*/ 388619 w 12190411"/>
              <a:gd name="connsiteY62" fmla="*/ 846138 h 6857999"/>
              <a:gd name="connsiteX63" fmla="*/ 401954 w 12190411"/>
              <a:gd name="connsiteY63" fmla="*/ 846138 h 6857999"/>
              <a:gd name="connsiteX64" fmla="*/ 401954 w 12190411"/>
              <a:gd name="connsiteY64" fmla="*/ 826135 h 6857999"/>
              <a:gd name="connsiteX65" fmla="*/ 428624 w 12190411"/>
              <a:gd name="connsiteY65" fmla="*/ 788988 h 6857999"/>
              <a:gd name="connsiteX66" fmla="*/ 413384 w 12190411"/>
              <a:gd name="connsiteY66" fmla="*/ 788988 h 6857999"/>
              <a:gd name="connsiteX67" fmla="*/ 396239 w 12190411"/>
              <a:gd name="connsiteY67" fmla="*/ 813753 h 6857999"/>
              <a:gd name="connsiteX68" fmla="*/ 377189 w 12190411"/>
              <a:gd name="connsiteY68" fmla="*/ 788988 h 6857999"/>
              <a:gd name="connsiteX69" fmla="*/ 504824 w 12190411"/>
              <a:gd name="connsiteY69" fmla="*/ 788988 h 6857999"/>
              <a:gd name="connsiteX70" fmla="*/ 504824 w 12190411"/>
              <a:gd name="connsiteY70" fmla="*/ 846138 h 6857999"/>
              <a:gd name="connsiteX71" fmla="*/ 518159 w 12190411"/>
              <a:gd name="connsiteY71" fmla="*/ 846138 h 6857999"/>
              <a:gd name="connsiteX72" fmla="*/ 518159 w 12190411"/>
              <a:gd name="connsiteY72" fmla="*/ 824230 h 6857999"/>
              <a:gd name="connsiteX73" fmla="*/ 528636 w 12190411"/>
              <a:gd name="connsiteY73" fmla="*/ 824230 h 6857999"/>
              <a:gd name="connsiteX74" fmla="*/ 545781 w 12190411"/>
              <a:gd name="connsiteY74" fmla="*/ 846138 h 6857999"/>
              <a:gd name="connsiteX75" fmla="*/ 561974 w 12190411"/>
              <a:gd name="connsiteY75" fmla="*/ 846138 h 6857999"/>
              <a:gd name="connsiteX76" fmla="*/ 544829 w 12190411"/>
              <a:gd name="connsiteY76" fmla="*/ 824230 h 6857999"/>
              <a:gd name="connsiteX77" fmla="*/ 558164 w 12190411"/>
              <a:gd name="connsiteY77" fmla="*/ 807085 h 6857999"/>
              <a:gd name="connsiteX78" fmla="*/ 540066 w 12190411"/>
              <a:gd name="connsiteY78" fmla="*/ 788988 h 6857999"/>
              <a:gd name="connsiteX79" fmla="*/ 504824 w 12190411"/>
              <a:gd name="connsiteY79" fmla="*/ 788988 h 6857999"/>
              <a:gd name="connsiteX80" fmla="*/ 326707 w 12190411"/>
              <a:gd name="connsiteY80" fmla="*/ 788988 h 6857999"/>
              <a:gd name="connsiteX81" fmla="*/ 300037 w 12190411"/>
              <a:gd name="connsiteY81" fmla="*/ 846137 h 6857999"/>
              <a:gd name="connsiteX82" fmla="*/ 314324 w 12190411"/>
              <a:gd name="connsiteY82" fmla="*/ 846137 h 6857999"/>
              <a:gd name="connsiteX83" fmla="*/ 318134 w 12190411"/>
              <a:gd name="connsiteY83" fmla="*/ 835659 h 6857999"/>
              <a:gd name="connsiteX84" fmla="*/ 347662 w 12190411"/>
              <a:gd name="connsiteY84" fmla="*/ 835659 h 6857999"/>
              <a:gd name="connsiteX85" fmla="*/ 352424 w 12190411"/>
              <a:gd name="connsiteY85" fmla="*/ 846137 h 6857999"/>
              <a:gd name="connsiteX86" fmla="*/ 366712 w 12190411"/>
              <a:gd name="connsiteY86" fmla="*/ 846137 h 6857999"/>
              <a:gd name="connsiteX87" fmla="*/ 339089 w 12190411"/>
              <a:gd name="connsiteY87" fmla="*/ 788988 h 6857999"/>
              <a:gd name="connsiteX88" fmla="*/ 238124 w 12190411"/>
              <a:gd name="connsiteY88" fmla="*/ 788987 h 6857999"/>
              <a:gd name="connsiteX89" fmla="*/ 238124 w 12190411"/>
              <a:gd name="connsiteY89" fmla="*/ 846137 h 6857999"/>
              <a:gd name="connsiteX90" fmla="*/ 278128 w 12190411"/>
              <a:gd name="connsiteY90" fmla="*/ 846137 h 6857999"/>
              <a:gd name="connsiteX91" fmla="*/ 295274 w 12190411"/>
              <a:gd name="connsiteY91" fmla="*/ 828992 h 6857999"/>
              <a:gd name="connsiteX92" fmla="*/ 289559 w 12190411"/>
              <a:gd name="connsiteY92" fmla="*/ 816609 h 6857999"/>
              <a:gd name="connsiteX93" fmla="*/ 293368 w 12190411"/>
              <a:gd name="connsiteY93" fmla="*/ 806132 h 6857999"/>
              <a:gd name="connsiteX94" fmla="*/ 277176 w 12190411"/>
              <a:gd name="connsiteY94" fmla="*/ 788987 h 6857999"/>
              <a:gd name="connsiteX95" fmla="*/ 238124 w 12190411"/>
              <a:gd name="connsiteY95" fmla="*/ 788987 h 6857999"/>
              <a:gd name="connsiteX96" fmla="*/ 394334 w 12190411"/>
              <a:gd name="connsiteY96" fmla="*/ 735647 h 6857999"/>
              <a:gd name="connsiteX97" fmla="*/ 403859 w 12190411"/>
              <a:gd name="connsiteY97" fmla="*/ 757554 h 6857999"/>
              <a:gd name="connsiteX98" fmla="*/ 384809 w 12190411"/>
              <a:gd name="connsiteY98" fmla="*/ 757554 h 6857999"/>
              <a:gd name="connsiteX99" fmla="*/ 388619 w 12190411"/>
              <a:gd name="connsiteY99" fmla="*/ 722312 h 6857999"/>
              <a:gd name="connsiteX100" fmla="*/ 361949 w 12190411"/>
              <a:gd name="connsiteY100" fmla="*/ 779462 h 6857999"/>
              <a:gd name="connsiteX101" fmla="*/ 376236 w 12190411"/>
              <a:gd name="connsiteY101" fmla="*/ 779462 h 6857999"/>
              <a:gd name="connsiteX102" fmla="*/ 380046 w 12190411"/>
              <a:gd name="connsiteY102" fmla="*/ 768984 h 6857999"/>
              <a:gd name="connsiteX103" fmla="*/ 409574 w 12190411"/>
              <a:gd name="connsiteY103" fmla="*/ 768984 h 6857999"/>
              <a:gd name="connsiteX104" fmla="*/ 414336 w 12190411"/>
              <a:gd name="connsiteY104" fmla="*/ 779462 h 6857999"/>
              <a:gd name="connsiteX105" fmla="*/ 428624 w 12190411"/>
              <a:gd name="connsiteY105" fmla="*/ 779462 h 6857999"/>
              <a:gd name="connsiteX106" fmla="*/ 401001 w 12190411"/>
              <a:gd name="connsiteY106" fmla="*/ 722312 h 6857999"/>
              <a:gd name="connsiteX107" fmla="*/ 384810 w 12190411"/>
              <a:gd name="connsiteY107" fmla="*/ 688975 h 6857999"/>
              <a:gd name="connsiteX108" fmla="*/ 409575 w 12190411"/>
              <a:gd name="connsiteY108" fmla="*/ 688975 h 6857999"/>
              <a:gd name="connsiteX109" fmla="*/ 415290 w 12190411"/>
              <a:gd name="connsiteY109" fmla="*/ 694690 h 6857999"/>
              <a:gd name="connsiteX110" fmla="*/ 409575 w 12190411"/>
              <a:gd name="connsiteY110" fmla="*/ 700405 h 6857999"/>
              <a:gd name="connsiteX111" fmla="*/ 384810 w 12190411"/>
              <a:gd name="connsiteY111" fmla="*/ 700405 h 6857999"/>
              <a:gd name="connsiteX112" fmla="*/ 384810 w 12190411"/>
              <a:gd name="connsiteY112" fmla="*/ 668020 h 6857999"/>
              <a:gd name="connsiteX113" fmla="*/ 408622 w 12190411"/>
              <a:gd name="connsiteY113" fmla="*/ 668020 h 6857999"/>
              <a:gd name="connsiteX114" fmla="*/ 413385 w 12190411"/>
              <a:gd name="connsiteY114" fmla="*/ 672783 h 6857999"/>
              <a:gd name="connsiteX115" fmla="*/ 408622 w 12190411"/>
              <a:gd name="connsiteY115" fmla="*/ 677545 h 6857999"/>
              <a:gd name="connsiteX116" fmla="*/ 384810 w 12190411"/>
              <a:gd name="connsiteY116" fmla="*/ 677545 h 6857999"/>
              <a:gd name="connsiteX117" fmla="*/ 371475 w 12190411"/>
              <a:gd name="connsiteY117" fmla="*/ 655638 h 6857999"/>
              <a:gd name="connsiteX118" fmla="*/ 371475 w 12190411"/>
              <a:gd name="connsiteY118" fmla="*/ 712788 h 6857999"/>
              <a:gd name="connsiteX119" fmla="*/ 411480 w 12190411"/>
              <a:gd name="connsiteY119" fmla="*/ 712788 h 6857999"/>
              <a:gd name="connsiteX120" fmla="*/ 428625 w 12190411"/>
              <a:gd name="connsiteY120" fmla="*/ 695643 h 6857999"/>
              <a:gd name="connsiteX121" fmla="*/ 423862 w 12190411"/>
              <a:gd name="connsiteY121" fmla="*/ 683260 h 6857999"/>
              <a:gd name="connsiteX122" fmla="*/ 426720 w 12190411"/>
              <a:gd name="connsiteY122" fmla="*/ 672783 h 6857999"/>
              <a:gd name="connsiteX123" fmla="*/ 410527 w 12190411"/>
              <a:gd name="connsiteY123" fmla="*/ 655638 h 6857999"/>
              <a:gd name="connsiteX124" fmla="*/ 371475 w 12190411"/>
              <a:gd name="connsiteY124" fmla="*/ 655638 h 6857999"/>
              <a:gd name="connsiteX125" fmla="*/ 395906 w 12190411"/>
              <a:gd name="connsiteY125" fmla="*/ 642093 h 6857999"/>
              <a:gd name="connsiteX126" fmla="*/ 556451 w 12190411"/>
              <a:gd name="connsiteY126" fmla="*/ 723125 h 6857999"/>
              <a:gd name="connsiteX127" fmla="*/ 580894 w 12190411"/>
              <a:gd name="connsiteY127" fmla="*/ 766886 h 6857999"/>
              <a:gd name="connsiteX128" fmla="*/ 580897 w 12190411"/>
              <a:gd name="connsiteY128" fmla="*/ 766897 h 6857999"/>
              <a:gd name="connsiteX129" fmla="*/ 556803 w 12190411"/>
              <a:gd name="connsiteY129" fmla="*/ 723932 h 6857999"/>
              <a:gd name="connsiteX130" fmla="*/ 396257 w 12190411"/>
              <a:gd name="connsiteY130" fmla="*/ 642938 h 6857999"/>
              <a:gd name="connsiteX131" fmla="*/ 570519 w 12190411"/>
              <a:gd name="connsiteY131" fmla="*/ 804925 h 6857999"/>
              <a:gd name="connsiteX132" fmla="*/ 570870 w 12190411"/>
              <a:gd name="connsiteY132" fmla="*/ 817197 h 6857999"/>
              <a:gd name="connsiteX133" fmla="*/ 570519 w 12190411"/>
              <a:gd name="connsiteY133" fmla="*/ 829469 h 6857999"/>
              <a:gd name="connsiteX134" fmla="*/ 396257 w 12190411"/>
              <a:gd name="connsiteY134" fmla="*/ 991281 h 6857999"/>
              <a:gd name="connsiteX135" fmla="*/ 235711 w 12190411"/>
              <a:gd name="connsiteY135" fmla="*/ 910463 h 6857999"/>
              <a:gd name="connsiteX136" fmla="*/ 211203 w 12190411"/>
              <a:gd name="connsiteY136" fmla="*/ 866701 h 6857999"/>
              <a:gd name="connsiteX137" fmla="*/ 211136 w 12190411"/>
              <a:gd name="connsiteY137" fmla="*/ 866439 h 6857999"/>
              <a:gd name="connsiteX138" fmla="*/ 235360 w 12190411"/>
              <a:gd name="connsiteY138" fmla="*/ 909744 h 6857999"/>
              <a:gd name="connsiteX139" fmla="*/ 395906 w 12190411"/>
              <a:gd name="connsiteY139" fmla="*/ 990600 h 6857999"/>
              <a:gd name="connsiteX140" fmla="*/ 221644 w 12190411"/>
              <a:gd name="connsiteY140" fmla="*/ 828712 h 6857999"/>
              <a:gd name="connsiteX141" fmla="*/ 221292 w 12190411"/>
              <a:gd name="connsiteY141" fmla="*/ 816434 h 6857999"/>
              <a:gd name="connsiteX142" fmla="*/ 221644 w 12190411"/>
              <a:gd name="connsiteY142" fmla="*/ 804157 h 6857999"/>
              <a:gd name="connsiteX143" fmla="*/ 395906 w 12190411"/>
              <a:gd name="connsiteY143" fmla="*/ 642093 h 6857999"/>
              <a:gd name="connsiteX144" fmla="*/ 395906 w 12190411"/>
              <a:gd name="connsiteY144" fmla="*/ 617538 h 6857999"/>
              <a:gd name="connsiteX145" fmla="*/ 196850 w 12190411"/>
              <a:gd name="connsiteY145" fmla="*/ 804157 h 6857999"/>
              <a:gd name="connsiteX146" fmla="*/ 197141 w 12190411"/>
              <a:gd name="connsiteY146" fmla="*/ 807054 h 6857999"/>
              <a:gd name="connsiteX147" fmla="*/ 196850 w 12190411"/>
              <a:gd name="connsiteY147" fmla="*/ 817197 h 6857999"/>
              <a:gd name="connsiteX148" fmla="*/ 197202 w 12190411"/>
              <a:gd name="connsiteY148" fmla="*/ 829469 h 6857999"/>
              <a:gd name="connsiteX149" fmla="*/ 396257 w 12190411"/>
              <a:gd name="connsiteY149" fmla="*/ 1016000 h 6857999"/>
              <a:gd name="connsiteX150" fmla="*/ 595313 w 12190411"/>
              <a:gd name="connsiteY150" fmla="*/ 829469 h 6857999"/>
              <a:gd name="connsiteX151" fmla="*/ 595023 w 12190411"/>
              <a:gd name="connsiteY151" fmla="*/ 826543 h 6857999"/>
              <a:gd name="connsiteX152" fmla="*/ 595313 w 12190411"/>
              <a:gd name="connsiteY152" fmla="*/ 816434 h 6857999"/>
              <a:gd name="connsiteX153" fmla="*/ 594961 w 12190411"/>
              <a:gd name="connsiteY153" fmla="*/ 804157 h 6857999"/>
              <a:gd name="connsiteX154" fmla="*/ 395906 w 12190411"/>
              <a:gd name="connsiteY154" fmla="*/ 617538 h 6857999"/>
              <a:gd name="connsiteX155" fmla="*/ 6285641 w 12190411"/>
              <a:gd name="connsiteY155" fmla="*/ 0 h 6857999"/>
              <a:gd name="connsiteX156" fmla="*/ 12190411 w 12190411"/>
              <a:gd name="connsiteY156" fmla="*/ 0 h 6857999"/>
              <a:gd name="connsiteX157" fmla="*/ 12190411 w 12190411"/>
              <a:gd name="connsiteY157" fmla="*/ 6005393 h 6857999"/>
              <a:gd name="connsiteX158" fmla="*/ 9456588 w 12190411"/>
              <a:gd name="connsiteY158" fmla="*/ 6488000 h 6857999"/>
              <a:gd name="connsiteX159" fmla="*/ 9456594 w 12190411"/>
              <a:gd name="connsiteY159" fmla="*/ 6487971 h 6857999"/>
              <a:gd name="connsiteX160" fmla="*/ 7360503 w 12190411"/>
              <a:gd name="connsiteY160" fmla="*/ 6857999 h 6857999"/>
              <a:gd name="connsiteX161" fmla="*/ 3780054 w 12190411"/>
              <a:gd name="connsiteY161" fmla="*/ 6857999 h 6857999"/>
              <a:gd name="connsiteX162" fmla="*/ 0 w 12190411"/>
              <a:gd name="connsiteY162" fmla="*/ 0 h 6857999"/>
              <a:gd name="connsiteX163" fmla="*/ 6266477 w 12190411"/>
              <a:gd name="connsiteY163" fmla="*/ 0 h 6857999"/>
              <a:gd name="connsiteX164" fmla="*/ 3760890 w 12190411"/>
              <a:gd name="connsiteY164" fmla="*/ 6857999 h 6857999"/>
              <a:gd name="connsiteX165" fmla="*/ 0 w 12190411"/>
              <a:gd name="connsiteY165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12190411" h="6857999">
                <a:moveTo>
                  <a:pt x="384808" y="934719"/>
                </a:moveTo>
                <a:cubicBezTo>
                  <a:pt x="384808" y="934719"/>
                  <a:pt x="384808" y="934719"/>
                  <a:pt x="405763" y="934719"/>
                </a:cubicBezTo>
                <a:cubicBezTo>
                  <a:pt x="408620" y="934719"/>
                  <a:pt x="410525" y="937577"/>
                  <a:pt x="410525" y="940434"/>
                </a:cubicBezTo>
                <a:cubicBezTo>
                  <a:pt x="410525" y="943292"/>
                  <a:pt x="407668" y="945197"/>
                  <a:pt x="405763" y="945197"/>
                </a:cubicBezTo>
                <a:cubicBezTo>
                  <a:pt x="405763" y="945197"/>
                  <a:pt x="405763" y="945197"/>
                  <a:pt x="384808" y="945197"/>
                </a:cubicBezTo>
                <a:cubicBezTo>
                  <a:pt x="384808" y="945197"/>
                  <a:pt x="384808" y="945197"/>
                  <a:pt x="384808" y="934719"/>
                </a:cubicBezTo>
                <a:close/>
                <a:moveTo>
                  <a:pt x="371473" y="922337"/>
                </a:moveTo>
                <a:cubicBezTo>
                  <a:pt x="371473" y="922337"/>
                  <a:pt x="371473" y="922337"/>
                  <a:pt x="371473" y="979487"/>
                </a:cubicBezTo>
                <a:lnTo>
                  <a:pt x="383855" y="979487"/>
                </a:lnTo>
                <a:cubicBezTo>
                  <a:pt x="383855" y="979487"/>
                  <a:pt x="383855" y="979487"/>
                  <a:pt x="383855" y="957579"/>
                </a:cubicBezTo>
                <a:cubicBezTo>
                  <a:pt x="383855" y="957579"/>
                  <a:pt x="383855" y="957579"/>
                  <a:pt x="398143" y="957579"/>
                </a:cubicBezTo>
                <a:cubicBezTo>
                  <a:pt x="398143" y="957579"/>
                  <a:pt x="398143" y="957579"/>
                  <a:pt x="413383" y="979487"/>
                </a:cubicBezTo>
                <a:cubicBezTo>
                  <a:pt x="413383" y="979487"/>
                  <a:pt x="413383" y="979487"/>
                  <a:pt x="428623" y="979487"/>
                </a:cubicBezTo>
                <a:cubicBezTo>
                  <a:pt x="428623" y="979487"/>
                  <a:pt x="428623" y="979487"/>
                  <a:pt x="412430" y="956627"/>
                </a:cubicBezTo>
                <a:cubicBezTo>
                  <a:pt x="419098" y="954722"/>
                  <a:pt x="422908" y="948054"/>
                  <a:pt x="422908" y="940434"/>
                </a:cubicBezTo>
                <a:cubicBezTo>
                  <a:pt x="422908" y="929957"/>
                  <a:pt x="416240" y="922337"/>
                  <a:pt x="406715" y="922337"/>
                </a:cubicBezTo>
                <a:cubicBezTo>
                  <a:pt x="406715" y="922337"/>
                  <a:pt x="406715" y="922337"/>
                  <a:pt x="371473" y="922337"/>
                </a:cubicBezTo>
                <a:close/>
                <a:moveTo>
                  <a:pt x="371473" y="855662"/>
                </a:moveTo>
                <a:lnTo>
                  <a:pt x="371473" y="912812"/>
                </a:lnTo>
                <a:lnTo>
                  <a:pt x="419098" y="912812"/>
                </a:lnTo>
                <a:lnTo>
                  <a:pt x="419098" y="901382"/>
                </a:lnTo>
                <a:lnTo>
                  <a:pt x="383855" y="901382"/>
                </a:lnTo>
                <a:lnTo>
                  <a:pt x="383855" y="888999"/>
                </a:lnTo>
                <a:lnTo>
                  <a:pt x="417193" y="888999"/>
                </a:lnTo>
                <a:lnTo>
                  <a:pt x="417193" y="877569"/>
                </a:lnTo>
                <a:lnTo>
                  <a:pt x="383855" y="877569"/>
                </a:lnTo>
                <a:lnTo>
                  <a:pt x="383855" y="867092"/>
                </a:lnTo>
                <a:lnTo>
                  <a:pt x="419098" y="867092"/>
                </a:lnTo>
                <a:lnTo>
                  <a:pt x="419098" y="855662"/>
                </a:lnTo>
                <a:close/>
                <a:moveTo>
                  <a:pt x="251459" y="822324"/>
                </a:moveTo>
                <a:cubicBezTo>
                  <a:pt x="251459" y="822324"/>
                  <a:pt x="251459" y="822324"/>
                  <a:pt x="276223" y="822324"/>
                </a:cubicBezTo>
                <a:cubicBezTo>
                  <a:pt x="279081" y="822324"/>
                  <a:pt x="281939" y="825182"/>
                  <a:pt x="281939" y="828039"/>
                </a:cubicBezTo>
                <a:cubicBezTo>
                  <a:pt x="281939" y="830897"/>
                  <a:pt x="279081" y="833754"/>
                  <a:pt x="276223" y="833754"/>
                </a:cubicBezTo>
                <a:cubicBezTo>
                  <a:pt x="276223" y="833754"/>
                  <a:pt x="276223" y="833754"/>
                  <a:pt x="251459" y="833754"/>
                </a:cubicBezTo>
                <a:close/>
                <a:moveTo>
                  <a:pt x="332422" y="802322"/>
                </a:moveTo>
                <a:lnTo>
                  <a:pt x="341947" y="824229"/>
                </a:lnTo>
                <a:lnTo>
                  <a:pt x="322897" y="824229"/>
                </a:lnTo>
                <a:close/>
                <a:moveTo>
                  <a:pt x="518159" y="801370"/>
                </a:moveTo>
                <a:cubicBezTo>
                  <a:pt x="518159" y="801370"/>
                  <a:pt x="518159" y="801370"/>
                  <a:pt x="538161" y="801370"/>
                </a:cubicBezTo>
                <a:cubicBezTo>
                  <a:pt x="541971" y="801370"/>
                  <a:pt x="543876" y="803275"/>
                  <a:pt x="543876" y="806133"/>
                </a:cubicBezTo>
                <a:cubicBezTo>
                  <a:pt x="543876" y="808990"/>
                  <a:pt x="541019" y="811848"/>
                  <a:pt x="538161" y="811848"/>
                </a:cubicBezTo>
                <a:cubicBezTo>
                  <a:pt x="538161" y="811848"/>
                  <a:pt x="538161" y="811848"/>
                  <a:pt x="518159" y="811848"/>
                </a:cubicBezTo>
                <a:cubicBezTo>
                  <a:pt x="518159" y="811848"/>
                  <a:pt x="518159" y="811848"/>
                  <a:pt x="518159" y="801370"/>
                </a:cubicBezTo>
                <a:close/>
                <a:moveTo>
                  <a:pt x="251459" y="801369"/>
                </a:moveTo>
                <a:cubicBezTo>
                  <a:pt x="251459" y="801369"/>
                  <a:pt x="251459" y="801369"/>
                  <a:pt x="275271" y="801369"/>
                </a:cubicBezTo>
                <a:cubicBezTo>
                  <a:pt x="278128" y="801369"/>
                  <a:pt x="280034" y="803274"/>
                  <a:pt x="280034" y="806132"/>
                </a:cubicBezTo>
                <a:cubicBezTo>
                  <a:pt x="280034" y="808989"/>
                  <a:pt x="278128" y="810894"/>
                  <a:pt x="275271" y="810894"/>
                </a:cubicBezTo>
                <a:cubicBezTo>
                  <a:pt x="275271" y="810894"/>
                  <a:pt x="275271" y="810894"/>
                  <a:pt x="251459" y="810894"/>
                </a:cubicBezTo>
                <a:close/>
                <a:moveTo>
                  <a:pt x="438149" y="788988"/>
                </a:moveTo>
                <a:lnTo>
                  <a:pt x="438149" y="846138"/>
                </a:lnTo>
                <a:lnTo>
                  <a:pt x="485774" y="846138"/>
                </a:lnTo>
                <a:lnTo>
                  <a:pt x="485774" y="834708"/>
                </a:lnTo>
                <a:lnTo>
                  <a:pt x="450531" y="834708"/>
                </a:lnTo>
                <a:lnTo>
                  <a:pt x="450531" y="822325"/>
                </a:lnTo>
                <a:lnTo>
                  <a:pt x="485774" y="822325"/>
                </a:lnTo>
                <a:lnTo>
                  <a:pt x="485774" y="810895"/>
                </a:lnTo>
                <a:lnTo>
                  <a:pt x="450531" y="810895"/>
                </a:lnTo>
                <a:lnTo>
                  <a:pt x="450531" y="800418"/>
                </a:lnTo>
                <a:lnTo>
                  <a:pt x="485774" y="800418"/>
                </a:lnTo>
                <a:lnTo>
                  <a:pt x="485774" y="788988"/>
                </a:lnTo>
                <a:close/>
                <a:moveTo>
                  <a:pt x="361949" y="788988"/>
                </a:moveTo>
                <a:lnTo>
                  <a:pt x="388619" y="826135"/>
                </a:lnTo>
                <a:lnTo>
                  <a:pt x="388619" y="846138"/>
                </a:lnTo>
                <a:lnTo>
                  <a:pt x="401954" y="846138"/>
                </a:lnTo>
                <a:lnTo>
                  <a:pt x="401954" y="826135"/>
                </a:lnTo>
                <a:lnTo>
                  <a:pt x="428624" y="788988"/>
                </a:lnTo>
                <a:lnTo>
                  <a:pt x="413384" y="788988"/>
                </a:lnTo>
                <a:lnTo>
                  <a:pt x="396239" y="813753"/>
                </a:lnTo>
                <a:lnTo>
                  <a:pt x="377189" y="788988"/>
                </a:lnTo>
                <a:close/>
                <a:moveTo>
                  <a:pt x="504824" y="788988"/>
                </a:moveTo>
                <a:cubicBezTo>
                  <a:pt x="504824" y="788988"/>
                  <a:pt x="504824" y="788988"/>
                  <a:pt x="504824" y="846138"/>
                </a:cubicBezTo>
                <a:cubicBezTo>
                  <a:pt x="504824" y="846138"/>
                  <a:pt x="504824" y="846138"/>
                  <a:pt x="518159" y="846138"/>
                </a:cubicBezTo>
                <a:cubicBezTo>
                  <a:pt x="518159" y="846138"/>
                  <a:pt x="518159" y="846138"/>
                  <a:pt x="518159" y="824230"/>
                </a:cubicBezTo>
                <a:cubicBezTo>
                  <a:pt x="518159" y="824230"/>
                  <a:pt x="518159" y="824230"/>
                  <a:pt x="528636" y="824230"/>
                </a:cubicBezTo>
                <a:lnTo>
                  <a:pt x="545781" y="846138"/>
                </a:lnTo>
                <a:cubicBezTo>
                  <a:pt x="545781" y="846138"/>
                  <a:pt x="545781" y="846138"/>
                  <a:pt x="561974" y="846138"/>
                </a:cubicBezTo>
                <a:cubicBezTo>
                  <a:pt x="561974" y="846138"/>
                  <a:pt x="561974" y="846138"/>
                  <a:pt x="544829" y="824230"/>
                </a:cubicBezTo>
                <a:cubicBezTo>
                  <a:pt x="552449" y="821373"/>
                  <a:pt x="558164" y="814705"/>
                  <a:pt x="558164" y="807085"/>
                </a:cubicBezTo>
                <a:cubicBezTo>
                  <a:pt x="558164" y="796608"/>
                  <a:pt x="549591" y="788988"/>
                  <a:pt x="540066" y="788988"/>
                </a:cubicBezTo>
                <a:cubicBezTo>
                  <a:pt x="540066" y="788988"/>
                  <a:pt x="540066" y="788988"/>
                  <a:pt x="504824" y="788988"/>
                </a:cubicBezTo>
                <a:close/>
                <a:moveTo>
                  <a:pt x="326707" y="788988"/>
                </a:moveTo>
                <a:lnTo>
                  <a:pt x="300037" y="846137"/>
                </a:lnTo>
                <a:lnTo>
                  <a:pt x="314324" y="846137"/>
                </a:lnTo>
                <a:lnTo>
                  <a:pt x="318134" y="835659"/>
                </a:lnTo>
                <a:lnTo>
                  <a:pt x="347662" y="835659"/>
                </a:lnTo>
                <a:lnTo>
                  <a:pt x="352424" y="846137"/>
                </a:lnTo>
                <a:lnTo>
                  <a:pt x="366712" y="846137"/>
                </a:lnTo>
                <a:lnTo>
                  <a:pt x="339089" y="788988"/>
                </a:lnTo>
                <a:close/>
                <a:moveTo>
                  <a:pt x="238124" y="788987"/>
                </a:moveTo>
                <a:cubicBezTo>
                  <a:pt x="238124" y="788987"/>
                  <a:pt x="238124" y="788987"/>
                  <a:pt x="238124" y="846137"/>
                </a:cubicBezTo>
                <a:cubicBezTo>
                  <a:pt x="238124" y="846137"/>
                  <a:pt x="238124" y="846137"/>
                  <a:pt x="278128" y="846137"/>
                </a:cubicBezTo>
                <a:cubicBezTo>
                  <a:pt x="287654" y="846137"/>
                  <a:pt x="295274" y="838517"/>
                  <a:pt x="295274" y="828992"/>
                </a:cubicBezTo>
                <a:cubicBezTo>
                  <a:pt x="295274" y="824229"/>
                  <a:pt x="293368" y="819467"/>
                  <a:pt x="289559" y="816609"/>
                </a:cubicBezTo>
                <a:cubicBezTo>
                  <a:pt x="292416" y="813752"/>
                  <a:pt x="294321" y="809942"/>
                  <a:pt x="293368" y="806132"/>
                </a:cubicBezTo>
                <a:cubicBezTo>
                  <a:pt x="293368" y="796607"/>
                  <a:pt x="286701" y="788987"/>
                  <a:pt x="277176" y="788987"/>
                </a:cubicBezTo>
                <a:cubicBezTo>
                  <a:pt x="277176" y="788987"/>
                  <a:pt x="277176" y="788987"/>
                  <a:pt x="238124" y="788987"/>
                </a:cubicBezTo>
                <a:close/>
                <a:moveTo>
                  <a:pt x="394334" y="735647"/>
                </a:moveTo>
                <a:lnTo>
                  <a:pt x="403859" y="757554"/>
                </a:lnTo>
                <a:lnTo>
                  <a:pt x="384809" y="757554"/>
                </a:lnTo>
                <a:close/>
                <a:moveTo>
                  <a:pt x="388619" y="722312"/>
                </a:moveTo>
                <a:lnTo>
                  <a:pt x="361949" y="779462"/>
                </a:lnTo>
                <a:lnTo>
                  <a:pt x="376236" y="779462"/>
                </a:lnTo>
                <a:lnTo>
                  <a:pt x="380046" y="768984"/>
                </a:lnTo>
                <a:lnTo>
                  <a:pt x="409574" y="768984"/>
                </a:lnTo>
                <a:lnTo>
                  <a:pt x="414336" y="779462"/>
                </a:lnTo>
                <a:lnTo>
                  <a:pt x="428624" y="779462"/>
                </a:lnTo>
                <a:lnTo>
                  <a:pt x="401001" y="722312"/>
                </a:lnTo>
                <a:close/>
                <a:moveTo>
                  <a:pt x="384810" y="688975"/>
                </a:moveTo>
                <a:cubicBezTo>
                  <a:pt x="384810" y="688975"/>
                  <a:pt x="384810" y="688975"/>
                  <a:pt x="409575" y="688975"/>
                </a:cubicBezTo>
                <a:cubicBezTo>
                  <a:pt x="413385" y="688975"/>
                  <a:pt x="415290" y="691833"/>
                  <a:pt x="415290" y="694690"/>
                </a:cubicBezTo>
                <a:cubicBezTo>
                  <a:pt x="415290" y="697548"/>
                  <a:pt x="412432" y="700405"/>
                  <a:pt x="409575" y="700405"/>
                </a:cubicBezTo>
                <a:cubicBezTo>
                  <a:pt x="409575" y="700405"/>
                  <a:pt x="409575" y="700405"/>
                  <a:pt x="384810" y="700405"/>
                </a:cubicBezTo>
                <a:close/>
                <a:moveTo>
                  <a:pt x="384810" y="668020"/>
                </a:moveTo>
                <a:cubicBezTo>
                  <a:pt x="384810" y="668020"/>
                  <a:pt x="384810" y="668020"/>
                  <a:pt x="408622" y="668020"/>
                </a:cubicBezTo>
                <a:cubicBezTo>
                  <a:pt x="411480" y="668020"/>
                  <a:pt x="413385" y="669925"/>
                  <a:pt x="413385" y="672783"/>
                </a:cubicBezTo>
                <a:cubicBezTo>
                  <a:pt x="413385" y="675640"/>
                  <a:pt x="411480" y="677545"/>
                  <a:pt x="408622" y="677545"/>
                </a:cubicBezTo>
                <a:cubicBezTo>
                  <a:pt x="408622" y="677545"/>
                  <a:pt x="408622" y="677545"/>
                  <a:pt x="384810" y="677545"/>
                </a:cubicBezTo>
                <a:close/>
                <a:moveTo>
                  <a:pt x="371475" y="655638"/>
                </a:moveTo>
                <a:cubicBezTo>
                  <a:pt x="371475" y="655638"/>
                  <a:pt x="371475" y="655638"/>
                  <a:pt x="371475" y="712788"/>
                </a:cubicBezTo>
                <a:cubicBezTo>
                  <a:pt x="371475" y="712788"/>
                  <a:pt x="371475" y="712788"/>
                  <a:pt x="411480" y="712788"/>
                </a:cubicBezTo>
                <a:cubicBezTo>
                  <a:pt x="421005" y="712788"/>
                  <a:pt x="428625" y="705168"/>
                  <a:pt x="428625" y="695643"/>
                </a:cubicBezTo>
                <a:cubicBezTo>
                  <a:pt x="428625" y="690880"/>
                  <a:pt x="426720" y="686118"/>
                  <a:pt x="423862" y="683260"/>
                </a:cubicBezTo>
                <a:cubicBezTo>
                  <a:pt x="425767" y="680403"/>
                  <a:pt x="427672" y="676593"/>
                  <a:pt x="426720" y="672783"/>
                </a:cubicBezTo>
                <a:cubicBezTo>
                  <a:pt x="426720" y="663258"/>
                  <a:pt x="420052" y="655638"/>
                  <a:pt x="410527" y="655638"/>
                </a:cubicBezTo>
                <a:cubicBezTo>
                  <a:pt x="410527" y="655638"/>
                  <a:pt x="410527" y="655638"/>
                  <a:pt x="371475" y="655638"/>
                </a:cubicBezTo>
                <a:close/>
                <a:moveTo>
                  <a:pt x="395906" y="642093"/>
                </a:moveTo>
                <a:cubicBezTo>
                  <a:pt x="461671" y="642093"/>
                  <a:pt x="520052" y="674015"/>
                  <a:pt x="556451" y="723125"/>
                </a:cubicBezTo>
                <a:cubicBezTo>
                  <a:pt x="566299" y="736543"/>
                  <a:pt x="574563" y="751232"/>
                  <a:pt x="580894" y="766886"/>
                </a:cubicBezTo>
                <a:lnTo>
                  <a:pt x="580897" y="766897"/>
                </a:lnTo>
                <a:lnTo>
                  <a:pt x="556803" y="723932"/>
                </a:lnTo>
                <a:cubicBezTo>
                  <a:pt x="520403" y="674845"/>
                  <a:pt x="462023" y="642938"/>
                  <a:pt x="396257" y="642938"/>
                </a:cubicBezTo>
                <a:cubicBezTo>
                  <a:pt x="488399" y="642938"/>
                  <a:pt x="564188" y="714465"/>
                  <a:pt x="570519" y="804925"/>
                </a:cubicBezTo>
                <a:cubicBezTo>
                  <a:pt x="570695" y="808958"/>
                  <a:pt x="570870" y="812990"/>
                  <a:pt x="570870" y="817197"/>
                </a:cubicBezTo>
                <a:cubicBezTo>
                  <a:pt x="570870" y="821229"/>
                  <a:pt x="570695" y="825437"/>
                  <a:pt x="570519" y="829469"/>
                </a:cubicBezTo>
                <a:cubicBezTo>
                  <a:pt x="564188" y="919754"/>
                  <a:pt x="488399" y="991281"/>
                  <a:pt x="396257" y="991281"/>
                </a:cubicBezTo>
                <a:cubicBezTo>
                  <a:pt x="330316" y="991281"/>
                  <a:pt x="271935" y="959550"/>
                  <a:pt x="235711" y="910463"/>
                </a:cubicBezTo>
                <a:cubicBezTo>
                  <a:pt x="225776" y="897051"/>
                  <a:pt x="217512" y="882369"/>
                  <a:pt x="211203" y="866701"/>
                </a:cubicBezTo>
                <a:lnTo>
                  <a:pt x="211136" y="866439"/>
                </a:lnTo>
                <a:lnTo>
                  <a:pt x="235360" y="909744"/>
                </a:lnTo>
                <a:cubicBezTo>
                  <a:pt x="271760" y="958854"/>
                  <a:pt x="329964" y="990600"/>
                  <a:pt x="395906" y="990600"/>
                </a:cubicBezTo>
                <a:cubicBezTo>
                  <a:pt x="303763" y="990600"/>
                  <a:pt x="227974" y="919039"/>
                  <a:pt x="221644" y="828712"/>
                </a:cubicBezTo>
                <a:cubicBezTo>
                  <a:pt x="221292" y="824678"/>
                  <a:pt x="221292" y="820468"/>
                  <a:pt x="221292" y="816434"/>
                </a:cubicBezTo>
                <a:cubicBezTo>
                  <a:pt x="221292" y="812225"/>
                  <a:pt x="221292" y="808191"/>
                  <a:pt x="221644" y="804157"/>
                </a:cubicBezTo>
                <a:cubicBezTo>
                  <a:pt x="227974" y="713654"/>
                  <a:pt x="303763" y="642093"/>
                  <a:pt x="395906" y="642093"/>
                </a:cubicBezTo>
                <a:close/>
                <a:moveTo>
                  <a:pt x="395906" y="617538"/>
                </a:moveTo>
                <a:cubicBezTo>
                  <a:pt x="289872" y="617538"/>
                  <a:pt x="203356" y="699973"/>
                  <a:pt x="196850" y="804157"/>
                </a:cubicBezTo>
                <a:lnTo>
                  <a:pt x="197141" y="807054"/>
                </a:lnTo>
                <a:lnTo>
                  <a:pt x="196850" y="817197"/>
                </a:lnTo>
                <a:cubicBezTo>
                  <a:pt x="196850" y="821229"/>
                  <a:pt x="197026" y="825437"/>
                  <a:pt x="197202" y="829469"/>
                </a:cubicBezTo>
                <a:cubicBezTo>
                  <a:pt x="203708" y="933604"/>
                  <a:pt x="290223" y="1016000"/>
                  <a:pt x="396257" y="1016000"/>
                </a:cubicBezTo>
                <a:cubicBezTo>
                  <a:pt x="502291" y="1016000"/>
                  <a:pt x="588806" y="933604"/>
                  <a:pt x="595313" y="829469"/>
                </a:cubicBezTo>
                <a:lnTo>
                  <a:pt x="595023" y="826543"/>
                </a:lnTo>
                <a:lnTo>
                  <a:pt x="595313" y="816434"/>
                </a:lnTo>
                <a:cubicBezTo>
                  <a:pt x="595313" y="812225"/>
                  <a:pt x="595137" y="808191"/>
                  <a:pt x="594961" y="804157"/>
                </a:cubicBezTo>
                <a:cubicBezTo>
                  <a:pt x="588455" y="699973"/>
                  <a:pt x="501940" y="617538"/>
                  <a:pt x="395906" y="617538"/>
                </a:cubicBezTo>
                <a:close/>
                <a:moveTo>
                  <a:pt x="6285641" y="0"/>
                </a:moveTo>
                <a:lnTo>
                  <a:pt x="12190411" y="0"/>
                </a:lnTo>
                <a:lnTo>
                  <a:pt x="12190411" y="6005393"/>
                </a:lnTo>
                <a:lnTo>
                  <a:pt x="9456588" y="6488000"/>
                </a:lnTo>
                <a:lnTo>
                  <a:pt x="9456594" y="6487971"/>
                </a:lnTo>
                <a:lnTo>
                  <a:pt x="7360503" y="6857999"/>
                </a:lnTo>
                <a:lnTo>
                  <a:pt x="3780054" y="6857999"/>
                </a:lnTo>
                <a:close/>
                <a:moveTo>
                  <a:pt x="0" y="0"/>
                </a:moveTo>
                <a:lnTo>
                  <a:pt x="6266477" y="0"/>
                </a:lnTo>
                <a:lnTo>
                  <a:pt x="3760890" y="6857999"/>
                </a:lnTo>
                <a:lnTo>
                  <a:pt x="0" y="6857999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4" name="Text Placeholder 63">
            <a:extLst>
              <a:ext uri="{FF2B5EF4-FFF2-40B4-BE49-F238E27FC236}">
                <a16:creationId xmlns:a16="http://schemas.microsoft.com/office/drawing/2014/main" id="{82C802FB-9335-4020-990C-4ECC2117735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2" y="-7142"/>
            <a:ext cx="4543369" cy="5157787"/>
          </a:xfrm>
          <a:custGeom>
            <a:avLst/>
            <a:gdLst>
              <a:gd name="connsiteX0" fmla="*/ 5798642 w 6057037"/>
              <a:gd name="connsiteY0" fmla="*/ 1332612 h 6877049"/>
              <a:gd name="connsiteX1" fmla="*/ 4723899 w 6057037"/>
              <a:gd name="connsiteY1" fmla="*/ 6875332 h 6877049"/>
              <a:gd name="connsiteX2" fmla="*/ 4723899 w 6057037"/>
              <a:gd name="connsiteY2" fmla="*/ 6877049 h 6877049"/>
              <a:gd name="connsiteX3" fmla="*/ 3772669 w 6057037"/>
              <a:gd name="connsiteY3" fmla="*/ 6877049 h 6877049"/>
              <a:gd name="connsiteX4" fmla="*/ 384809 w 6057037"/>
              <a:gd name="connsiteY4" fmla="*/ 944244 h 6877049"/>
              <a:gd name="connsiteX5" fmla="*/ 405764 w 6057037"/>
              <a:gd name="connsiteY5" fmla="*/ 944244 h 6877049"/>
              <a:gd name="connsiteX6" fmla="*/ 410526 w 6057037"/>
              <a:gd name="connsiteY6" fmla="*/ 949959 h 6877049"/>
              <a:gd name="connsiteX7" fmla="*/ 405764 w 6057037"/>
              <a:gd name="connsiteY7" fmla="*/ 954722 h 6877049"/>
              <a:gd name="connsiteX8" fmla="*/ 384809 w 6057037"/>
              <a:gd name="connsiteY8" fmla="*/ 954722 h 6877049"/>
              <a:gd name="connsiteX9" fmla="*/ 384809 w 6057037"/>
              <a:gd name="connsiteY9" fmla="*/ 944244 h 6877049"/>
              <a:gd name="connsiteX10" fmla="*/ 371474 w 6057037"/>
              <a:gd name="connsiteY10" fmla="*/ 931862 h 6877049"/>
              <a:gd name="connsiteX11" fmla="*/ 371474 w 6057037"/>
              <a:gd name="connsiteY11" fmla="*/ 989012 h 6877049"/>
              <a:gd name="connsiteX12" fmla="*/ 383856 w 6057037"/>
              <a:gd name="connsiteY12" fmla="*/ 989012 h 6877049"/>
              <a:gd name="connsiteX13" fmla="*/ 383856 w 6057037"/>
              <a:gd name="connsiteY13" fmla="*/ 967104 h 6877049"/>
              <a:gd name="connsiteX14" fmla="*/ 398144 w 6057037"/>
              <a:gd name="connsiteY14" fmla="*/ 967104 h 6877049"/>
              <a:gd name="connsiteX15" fmla="*/ 413384 w 6057037"/>
              <a:gd name="connsiteY15" fmla="*/ 989012 h 6877049"/>
              <a:gd name="connsiteX16" fmla="*/ 428624 w 6057037"/>
              <a:gd name="connsiteY16" fmla="*/ 989012 h 6877049"/>
              <a:gd name="connsiteX17" fmla="*/ 412431 w 6057037"/>
              <a:gd name="connsiteY17" fmla="*/ 966152 h 6877049"/>
              <a:gd name="connsiteX18" fmla="*/ 422909 w 6057037"/>
              <a:gd name="connsiteY18" fmla="*/ 949959 h 6877049"/>
              <a:gd name="connsiteX19" fmla="*/ 406716 w 6057037"/>
              <a:gd name="connsiteY19" fmla="*/ 931862 h 6877049"/>
              <a:gd name="connsiteX20" fmla="*/ 371474 w 6057037"/>
              <a:gd name="connsiteY20" fmla="*/ 931862 h 6877049"/>
              <a:gd name="connsiteX21" fmla="*/ 371474 w 6057037"/>
              <a:gd name="connsiteY21" fmla="*/ 865187 h 6877049"/>
              <a:gd name="connsiteX22" fmla="*/ 371474 w 6057037"/>
              <a:gd name="connsiteY22" fmla="*/ 922337 h 6877049"/>
              <a:gd name="connsiteX23" fmla="*/ 419099 w 6057037"/>
              <a:gd name="connsiteY23" fmla="*/ 922337 h 6877049"/>
              <a:gd name="connsiteX24" fmla="*/ 419099 w 6057037"/>
              <a:gd name="connsiteY24" fmla="*/ 910907 h 6877049"/>
              <a:gd name="connsiteX25" fmla="*/ 383856 w 6057037"/>
              <a:gd name="connsiteY25" fmla="*/ 910907 h 6877049"/>
              <a:gd name="connsiteX26" fmla="*/ 383856 w 6057037"/>
              <a:gd name="connsiteY26" fmla="*/ 898524 h 6877049"/>
              <a:gd name="connsiteX27" fmla="*/ 417194 w 6057037"/>
              <a:gd name="connsiteY27" fmla="*/ 898524 h 6877049"/>
              <a:gd name="connsiteX28" fmla="*/ 417194 w 6057037"/>
              <a:gd name="connsiteY28" fmla="*/ 887094 h 6877049"/>
              <a:gd name="connsiteX29" fmla="*/ 383856 w 6057037"/>
              <a:gd name="connsiteY29" fmla="*/ 887094 h 6877049"/>
              <a:gd name="connsiteX30" fmla="*/ 383856 w 6057037"/>
              <a:gd name="connsiteY30" fmla="*/ 876617 h 6877049"/>
              <a:gd name="connsiteX31" fmla="*/ 419099 w 6057037"/>
              <a:gd name="connsiteY31" fmla="*/ 876617 h 6877049"/>
              <a:gd name="connsiteX32" fmla="*/ 419099 w 6057037"/>
              <a:gd name="connsiteY32" fmla="*/ 865187 h 6877049"/>
              <a:gd name="connsiteX33" fmla="*/ 251459 w 6057037"/>
              <a:gd name="connsiteY33" fmla="*/ 831849 h 6877049"/>
              <a:gd name="connsiteX34" fmla="*/ 276224 w 6057037"/>
              <a:gd name="connsiteY34" fmla="*/ 831849 h 6877049"/>
              <a:gd name="connsiteX35" fmla="*/ 281939 w 6057037"/>
              <a:gd name="connsiteY35" fmla="*/ 837564 h 6877049"/>
              <a:gd name="connsiteX36" fmla="*/ 276224 w 6057037"/>
              <a:gd name="connsiteY36" fmla="*/ 843279 h 6877049"/>
              <a:gd name="connsiteX37" fmla="*/ 251459 w 6057037"/>
              <a:gd name="connsiteY37" fmla="*/ 843279 h 6877049"/>
              <a:gd name="connsiteX38" fmla="*/ 332422 w 6057037"/>
              <a:gd name="connsiteY38" fmla="*/ 811848 h 6877049"/>
              <a:gd name="connsiteX39" fmla="*/ 341947 w 6057037"/>
              <a:gd name="connsiteY39" fmla="*/ 833755 h 6877049"/>
              <a:gd name="connsiteX40" fmla="*/ 322897 w 6057037"/>
              <a:gd name="connsiteY40" fmla="*/ 833755 h 6877049"/>
              <a:gd name="connsiteX41" fmla="*/ 518159 w 6057037"/>
              <a:gd name="connsiteY41" fmla="*/ 810895 h 6877049"/>
              <a:gd name="connsiteX42" fmla="*/ 538162 w 6057037"/>
              <a:gd name="connsiteY42" fmla="*/ 810895 h 6877049"/>
              <a:gd name="connsiteX43" fmla="*/ 543877 w 6057037"/>
              <a:gd name="connsiteY43" fmla="*/ 815658 h 6877049"/>
              <a:gd name="connsiteX44" fmla="*/ 538162 w 6057037"/>
              <a:gd name="connsiteY44" fmla="*/ 821373 h 6877049"/>
              <a:gd name="connsiteX45" fmla="*/ 518159 w 6057037"/>
              <a:gd name="connsiteY45" fmla="*/ 821373 h 6877049"/>
              <a:gd name="connsiteX46" fmla="*/ 518159 w 6057037"/>
              <a:gd name="connsiteY46" fmla="*/ 810895 h 6877049"/>
              <a:gd name="connsiteX47" fmla="*/ 251459 w 6057037"/>
              <a:gd name="connsiteY47" fmla="*/ 810894 h 6877049"/>
              <a:gd name="connsiteX48" fmla="*/ 275271 w 6057037"/>
              <a:gd name="connsiteY48" fmla="*/ 810894 h 6877049"/>
              <a:gd name="connsiteX49" fmla="*/ 280034 w 6057037"/>
              <a:gd name="connsiteY49" fmla="*/ 815657 h 6877049"/>
              <a:gd name="connsiteX50" fmla="*/ 275271 w 6057037"/>
              <a:gd name="connsiteY50" fmla="*/ 820419 h 6877049"/>
              <a:gd name="connsiteX51" fmla="*/ 251459 w 6057037"/>
              <a:gd name="connsiteY51" fmla="*/ 820419 h 6877049"/>
              <a:gd name="connsiteX52" fmla="*/ 438150 w 6057037"/>
              <a:gd name="connsiteY52" fmla="*/ 798513 h 6877049"/>
              <a:gd name="connsiteX53" fmla="*/ 438150 w 6057037"/>
              <a:gd name="connsiteY53" fmla="*/ 855663 h 6877049"/>
              <a:gd name="connsiteX54" fmla="*/ 485775 w 6057037"/>
              <a:gd name="connsiteY54" fmla="*/ 855663 h 6877049"/>
              <a:gd name="connsiteX55" fmla="*/ 485775 w 6057037"/>
              <a:gd name="connsiteY55" fmla="*/ 844233 h 6877049"/>
              <a:gd name="connsiteX56" fmla="*/ 450532 w 6057037"/>
              <a:gd name="connsiteY56" fmla="*/ 844233 h 6877049"/>
              <a:gd name="connsiteX57" fmla="*/ 450532 w 6057037"/>
              <a:gd name="connsiteY57" fmla="*/ 831850 h 6877049"/>
              <a:gd name="connsiteX58" fmla="*/ 485775 w 6057037"/>
              <a:gd name="connsiteY58" fmla="*/ 831850 h 6877049"/>
              <a:gd name="connsiteX59" fmla="*/ 485775 w 6057037"/>
              <a:gd name="connsiteY59" fmla="*/ 820420 h 6877049"/>
              <a:gd name="connsiteX60" fmla="*/ 450532 w 6057037"/>
              <a:gd name="connsiteY60" fmla="*/ 820420 h 6877049"/>
              <a:gd name="connsiteX61" fmla="*/ 450532 w 6057037"/>
              <a:gd name="connsiteY61" fmla="*/ 809943 h 6877049"/>
              <a:gd name="connsiteX62" fmla="*/ 485775 w 6057037"/>
              <a:gd name="connsiteY62" fmla="*/ 809943 h 6877049"/>
              <a:gd name="connsiteX63" fmla="*/ 485775 w 6057037"/>
              <a:gd name="connsiteY63" fmla="*/ 798513 h 6877049"/>
              <a:gd name="connsiteX64" fmla="*/ 361950 w 6057037"/>
              <a:gd name="connsiteY64" fmla="*/ 798513 h 6877049"/>
              <a:gd name="connsiteX65" fmla="*/ 388620 w 6057037"/>
              <a:gd name="connsiteY65" fmla="*/ 835660 h 6877049"/>
              <a:gd name="connsiteX66" fmla="*/ 388620 w 6057037"/>
              <a:gd name="connsiteY66" fmla="*/ 855663 h 6877049"/>
              <a:gd name="connsiteX67" fmla="*/ 401955 w 6057037"/>
              <a:gd name="connsiteY67" fmla="*/ 855663 h 6877049"/>
              <a:gd name="connsiteX68" fmla="*/ 401955 w 6057037"/>
              <a:gd name="connsiteY68" fmla="*/ 835660 h 6877049"/>
              <a:gd name="connsiteX69" fmla="*/ 428625 w 6057037"/>
              <a:gd name="connsiteY69" fmla="*/ 798513 h 6877049"/>
              <a:gd name="connsiteX70" fmla="*/ 413385 w 6057037"/>
              <a:gd name="connsiteY70" fmla="*/ 798513 h 6877049"/>
              <a:gd name="connsiteX71" fmla="*/ 396240 w 6057037"/>
              <a:gd name="connsiteY71" fmla="*/ 823278 h 6877049"/>
              <a:gd name="connsiteX72" fmla="*/ 377190 w 6057037"/>
              <a:gd name="connsiteY72" fmla="*/ 798513 h 6877049"/>
              <a:gd name="connsiteX73" fmla="*/ 504824 w 6057037"/>
              <a:gd name="connsiteY73" fmla="*/ 798513 h 6877049"/>
              <a:gd name="connsiteX74" fmla="*/ 504824 w 6057037"/>
              <a:gd name="connsiteY74" fmla="*/ 855663 h 6877049"/>
              <a:gd name="connsiteX75" fmla="*/ 518159 w 6057037"/>
              <a:gd name="connsiteY75" fmla="*/ 855663 h 6877049"/>
              <a:gd name="connsiteX76" fmla="*/ 518159 w 6057037"/>
              <a:gd name="connsiteY76" fmla="*/ 833755 h 6877049"/>
              <a:gd name="connsiteX77" fmla="*/ 528637 w 6057037"/>
              <a:gd name="connsiteY77" fmla="*/ 833755 h 6877049"/>
              <a:gd name="connsiteX78" fmla="*/ 545782 w 6057037"/>
              <a:gd name="connsiteY78" fmla="*/ 855663 h 6877049"/>
              <a:gd name="connsiteX79" fmla="*/ 561975 w 6057037"/>
              <a:gd name="connsiteY79" fmla="*/ 855663 h 6877049"/>
              <a:gd name="connsiteX80" fmla="*/ 544830 w 6057037"/>
              <a:gd name="connsiteY80" fmla="*/ 833755 h 6877049"/>
              <a:gd name="connsiteX81" fmla="*/ 558165 w 6057037"/>
              <a:gd name="connsiteY81" fmla="*/ 816610 h 6877049"/>
              <a:gd name="connsiteX82" fmla="*/ 540067 w 6057037"/>
              <a:gd name="connsiteY82" fmla="*/ 798513 h 6877049"/>
              <a:gd name="connsiteX83" fmla="*/ 504824 w 6057037"/>
              <a:gd name="connsiteY83" fmla="*/ 798513 h 6877049"/>
              <a:gd name="connsiteX84" fmla="*/ 326707 w 6057037"/>
              <a:gd name="connsiteY84" fmla="*/ 798513 h 6877049"/>
              <a:gd name="connsiteX85" fmla="*/ 300037 w 6057037"/>
              <a:gd name="connsiteY85" fmla="*/ 855662 h 6877049"/>
              <a:gd name="connsiteX86" fmla="*/ 314324 w 6057037"/>
              <a:gd name="connsiteY86" fmla="*/ 855662 h 6877049"/>
              <a:gd name="connsiteX87" fmla="*/ 318134 w 6057037"/>
              <a:gd name="connsiteY87" fmla="*/ 845185 h 6877049"/>
              <a:gd name="connsiteX88" fmla="*/ 347662 w 6057037"/>
              <a:gd name="connsiteY88" fmla="*/ 845185 h 6877049"/>
              <a:gd name="connsiteX89" fmla="*/ 352424 w 6057037"/>
              <a:gd name="connsiteY89" fmla="*/ 855662 h 6877049"/>
              <a:gd name="connsiteX90" fmla="*/ 366712 w 6057037"/>
              <a:gd name="connsiteY90" fmla="*/ 855662 h 6877049"/>
              <a:gd name="connsiteX91" fmla="*/ 339089 w 6057037"/>
              <a:gd name="connsiteY91" fmla="*/ 798513 h 6877049"/>
              <a:gd name="connsiteX92" fmla="*/ 238124 w 6057037"/>
              <a:gd name="connsiteY92" fmla="*/ 798512 h 6877049"/>
              <a:gd name="connsiteX93" fmla="*/ 238124 w 6057037"/>
              <a:gd name="connsiteY93" fmla="*/ 855662 h 6877049"/>
              <a:gd name="connsiteX94" fmla="*/ 278129 w 6057037"/>
              <a:gd name="connsiteY94" fmla="*/ 855662 h 6877049"/>
              <a:gd name="connsiteX95" fmla="*/ 295274 w 6057037"/>
              <a:gd name="connsiteY95" fmla="*/ 838517 h 6877049"/>
              <a:gd name="connsiteX96" fmla="*/ 289559 w 6057037"/>
              <a:gd name="connsiteY96" fmla="*/ 826134 h 6877049"/>
              <a:gd name="connsiteX97" fmla="*/ 293369 w 6057037"/>
              <a:gd name="connsiteY97" fmla="*/ 815657 h 6877049"/>
              <a:gd name="connsiteX98" fmla="*/ 277176 w 6057037"/>
              <a:gd name="connsiteY98" fmla="*/ 798512 h 6877049"/>
              <a:gd name="connsiteX99" fmla="*/ 238124 w 6057037"/>
              <a:gd name="connsiteY99" fmla="*/ 798512 h 6877049"/>
              <a:gd name="connsiteX100" fmla="*/ 394334 w 6057037"/>
              <a:gd name="connsiteY100" fmla="*/ 745172 h 6877049"/>
              <a:gd name="connsiteX101" fmla="*/ 403859 w 6057037"/>
              <a:gd name="connsiteY101" fmla="*/ 767079 h 6877049"/>
              <a:gd name="connsiteX102" fmla="*/ 384809 w 6057037"/>
              <a:gd name="connsiteY102" fmla="*/ 767079 h 6877049"/>
              <a:gd name="connsiteX103" fmla="*/ 388619 w 6057037"/>
              <a:gd name="connsiteY103" fmla="*/ 731837 h 6877049"/>
              <a:gd name="connsiteX104" fmla="*/ 361949 w 6057037"/>
              <a:gd name="connsiteY104" fmla="*/ 788987 h 6877049"/>
              <a:gd name="connsiteX105" fmla="*/ 376236 w 6057037"/>
              <a:gd name="connsiteY105" fmla="*/ 788987 h 6877049"/>
              <a:gd name="connsiteX106" fmla="*/ 380046 w 6057037"/>
              <a:gd name="connsiteY106" fmla="*/ 778509 h 6877049"/>
              <a:gd name="connsiteX107" fmla="*/ 409574 w 6057037"/>
              <a:gd name="connsiteY107" fmla="*/ 778509 h 6877049"/>
              <a:gd name="connsiteX108" fmla="*/ 414336 w 6057037"/>
              <a:gd name="connsiteY108" fmla="*/ 788987 h 6877049"/>
              <a:gd name="connsiteX109" fmla="*/ 428624 w 6057037"/>
              <a:gd name="connsiteY109" fmla="*/ 788987 h 6877049"/>
              <a:gd name="connsiteX110" fmla="*/ 401001 w 6057037"/>
              <a:gd name="connsiteY110" fmla="*/ 731837 h 6877049"/>
              <a:gd name="connsiteX111" fmla="*/ 384810 w 6057037"/>
              <a:gd name="connsiteY111" fmla="*/ 698500 h 6877049"/>
              <a:gd name="connsiteX112" fmla="*/ 409575 w 6057037"/>
              <a:gd name="connsiteY112" fmla="*/ 698500 h 6877049"/>
              <a:gd name="connsiteX113" fmla="*/ 415290 w 6057037"/>
              <a:gd name="connsiteY113" fmla="*/ 704215 h 6877049"/>
              <a:gd name="connsiteX114" fmla="*/ 409575 w 6057037"/>
              <a:gd name="connsiteY114" fmla="*/ 709930 h 6877049"/>
              <a:gd name="connsiteX115" fmla="*/ 384810 w 6057037"/>
              <a:gd name="connsiteY115" fmla="*/ 709930 h 6877049"/>
              <a:gd name="connsiteX116" fmla="*/ 384810 w 6057037"/>
              <a:gd name="connsiteY116" fmla="*/ 677545 h 6877049"/>
              <a:gd name="connsiteX117" fmla="*/ 408622 w 6057037"/>
              <a:gd name="connsiteY117" fmla="*/ 677545 h 6877049"/>
              <a:gd name="connsiteX118" fmla="*/ 413385 w 6057037"/>
              <a:gd name="connsiteY118" fmla="*/ 682308 h 6877049"/>
              <a:gd name="connsiteX119" fmla="*/ 408622 w 6057037"/>
              <a:gd name="connsiteY119" fmla="*/ 687070 h 6877049"/>
              <a:gd name="connsiteX120" fmla="*/ 384810 w 6057037"/>
              <a:gd name="connsiteY120" fmla="*/ 687070 h 6877049"/>
              <a:gd name="connsiteX121" fmla="*/ 371475 w 6057037"/>
              <a:gd name="connsiteY121" fmla="*/ 665163 h 6877049"/>
              <a:gd name="connsiteX122" fmla="*/ 371475 w 6057037"/>
              <a:gd name="connsiteY122" fmla="*/ 722313 h 6877049"/>
              <a:gd name="connsiteX123" fmla="*/ 411480 w 6057037"/>
              <a:gd name="connsiteY123" fmla="*/ 722313 h 6877049"/>
              <a:gd name="connsiteX124" fmla="*/ 428625 w 6057037"/>
              <a:gd name="connsiteY124" fmla="*/ 705168 h 6877049"/>
              <a:gd name="connsiteX125" fmla="*/ 423862 w 6057037"/>
              <a:gd name="connsiteY125" fmla="*/ 692785 h 6877049"/>
              <a:gd name="connsiteX126" fmla="*/ 426720 w 6057037"/>
              <a:gd name="connsiteY126" fmla="*/ 682308 h 6877049"/>
              <a:gd name="connsiteX127" fmla="*/ 410527 w 6057037"/>
              <a:gd name="connsiteY127" fmla="*/ 665163 h 6877049"/>
              <a:gd name="connsiteX128" fmla="*/ 371475 w 6057037"/>
              <a:gd name="connsiteY128" fmla="*/ 665163 h 6877049"/>
              <a:gd name="connsiteX129" fmla="*/ 395906 w 6057037"/>
              <a:gd name="connsiteY129" fmla="*/ 651618 h 6877049"/>
              <a:gd name="connsiteX130" fmla="*/ 556452 w 6057037"/>
              <a:gd name="connsiteY130" fmla="*/ 732650 h 6877049"/>
              <a:gd name="connsiteX131" fmla="*/ 580894 w 6057037"/>
              <a:gd name="connsiteY131" fmla="*/ 776411 h 6877049"/>
              <a:gd name="connsiteX132" fmla="*/ 580897 w 6057037"/>
              <a:gd name="connsiteY132" fmla="*/ 776421 h 6877049"/>
              <a:gd name="connsiteX133" fmla="*/ 556803 w 6057037"/>
              <a:gd name="connsiteY133" fmla="*/ 733457 h 6877049"/>
              <a:gd name="connsiteX134" fmla="*/ 396257 w 6057037"/>
              <a:gd name="connsiteY134" fmla="*/ 652463 h 6877049"/>
              <a:gd name="connsiteX135" fmla="*/ 570519 w 6057037"/>
              <a:gd name="connsiteY135" fmla="*/ 814451 h 6877049"/>
              <a:gd name="connsiteX136" fmla="*/ 570871 w 6057037"/>
              <a:gd name="connsiteY136" fmla="*/ 826722 h 6877049"/>
              <a:gd name="connsiteX137" fmla="*/ 570519 w 6057037"/>
              <a:gd name="connsiteY137" fmla="*/ 838994 h 6877049"/>
              <a:gd name="connsiteX138" fmla="*/ 396257 w 6057037"/>
              <a:gd name="connsiteY138" fmla="*/ 1000806 h 6877049"/>
              <a:gd name="connsiteX139" fmla="*/ 235712 w 6057037"/>
              <a:gd name="connsiteY139" fmla="*/ 919988 h 6877049"/>
              <a:gd name="connsiteX140" fmla="*/ 211203 w 6057037"/>
              <a:gd name="connsiteY140" fmla="*/ 876226 h 6877049"/>
              <a:gd name="connsiteX141" fmla="*/ 211136 w 6057037"/>
              <a:gd name="connsiteY141" fmla="*/ 875965 h 6877049"/>
              <a:gd name="connsiteX142" fmla="*/ 235360 w 6057037"/>
              <a:gd name="connsiteY142" fmla="*/ 919269 h 6877049"/>
              <a:gd name="connsiteX143" fmla="*/ 395906 w 6057037"/>
              <a:gd name="connsiteY143" fmla="*/ 1000125 h 6877049"/>
              <a:gd name="connsiteX144" fmla="*/ 221644 w 6057037"/>
              <a:gd name="connsiteY144" fmla="*/ 838237 h 6877049"/>
              <a:gd name="connsiteX145" fmla="*/ 221292 w 6057037"/>
              <a:gd name="connsiteY145" fmla="*/ 825959 h 6877049"/>
              <a:gd name="connsiteX146" fmla="*/ 221644 w 6057037"/>
              <a:gd name="connsiteY146" fmla="*/ 813682 h 6877049"/>
              <a:gd name="connsiteX147" fmla="*/ 395906 w 6057037"/>
              <a:gd name="connsiteY147" fmla="*/ 651618 h 6877049"/>
              <a:gd name="connsiteX148" fmla="*/ 395906 w 6057037"/>
              <a:gd name="connsiteY148" fmla="*/ 627063 h 6877049"/>
              <a:gd name="connsiteX149" fmla="*/ 196850 w 6057037"/>
              <a:gd name="connsiteY149" fmla="*/ 813682 h 6877049"/>
              <a:gd name="connsiteX150" fmla="*/ 197141 w 6057037"/>
              <a:gd name="connsiteY150" fmla="*/ 816580 h 6877049"/>
              <a:gd name="connsiteX151" fmla="*/ 196850 w 6057037"/>
              <a:gd name="connsiteY151" fmla="*/ 826722 h 6877049"/>
              <a:gd name="connsiteX152" fmla="*/ 197202 w 6057037"/>
              <a:gd name="connsiteY152" fmla="*/ 838994 h 6877049"/>
              <a:gd name="connsiteX153" fmla="*/ 396257 w 6057037"/>
              <a:gd name="connsiteY153" fmla="*/ 1025525 h 6877049"/>
              <a:gd name="connsiteX154" fmla="*/ 595313 w 6057037"/>
              <a:gd name="connsiteY154" fmla="*/ 838994 h 6877049"/>
              <a:gd name="connsiteX155" fmla="*/ 595023 w 6057037"/>
              <a:gd name="connsiteY155" fmla="*/ 836065 h 6877049"/>
              <a:gd name="connsiteX156" fmla="*/ 595313 w 6057037"/>
              <a:gd name="connsiteY156" fmla="*/ 825959 h 6877049"/>
              <a:gd name="connsiteX157" fmla="*/ 594961 w 6057037"/>
              <a:gd name="connsiteY157" fmla="*/ 813682 h 6877049"/>
              <a:gd name="connsiteX158" fmla="*/ 395906 w 6057037"/>
              <a:gd name="connsiteY158" fmla="*/ 627063 h 6877049"/>
              <a:gd name="connsiteX159" fmla="*/ 0 w 6057037"/>
              <a:gd name="connsiteY159" fmla="*/ 0 h 6877049"/>
              <a:gd name="connsiteX160" fmla="*/ 4723899 w 6057037"/>
              <a:gd name="connsiteY160" fmla="*/ 0 h 6877049"/>
              <a:gd name="connsiteX161" fmla="*/ 6057037 w 6057037"/>
              <a:gd name="connsiteY161" fmla="*/ 0 h 6877049"/>
              <a:gd name="connsiteX162" fmla="*/ 5820308 w 6057037"/>
              <a:gd name="connsiteY162" fmla="*/ 1220872 h 6877049"/>
              <a:gd name="connsiteX163" fmla="*/ 3753506 w 6057037"/>
              <a:gd name="connsiteY163" fmla="*/ 6877049 h 6877049"/>
              <a:gd name="connsiteX164" fmla="*/ 0 w 6057037"/>
              <a:gd name="connsiteY164" fmla="*/ 6877049 h 6877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</a:cxnLst>
            <a:rect l="l" t="t" r="r" b="b"/>
            <a:pathLst>
              <a:path w="6057037" h="6877049">
                <a:moveTo>
                  <a:pt x="5798642" y="1332612"/>
                </a:moveTo>
                <a:lnTo>
                  <a:pt x="4723899" y="6875332"/>
                </a:lnTo>
                <a:lnTo>
                  <a:pt x="4723899" y="6877049"/>
                </a:lnTo>
                <a:lnTo>
                  <a:pt x="3772669" y="6877049"/>
                </a:lnTo>
                <a:close/>
                <a:moveTo>
                  <a:pt x="384809" y="944244"/>
                </a:moveTo>
                <a:cubicBezTo>
                  <a:pt x="384809" y="944244"/>
                  <a:pt x="384809" y="944244"/>
                  <a:pt x="405764" y="944244"/>
                </a:cubicBezTo>
                <a:cubicBezTo>
                  <a:pt x="408621" y="944244"/>
                  <a:pt x="410526" y="947102"/>
                  <a:pt x="410526" y="949959"/>
                </a:cubicBezTo>
                <a:cubicBezTo>
                  <a:pt x="410526" y="952817"/>
                  <a:pt x="407669" y="954722"/>
                  <a:pt x="405764" y="954722"/>
                </a:cubicBezTo>
                <a:cubicBezTo>
                  <a:pt x="405764" y="954722"/>
                  <a:pt x="405764" y="954722"/>
                  <a:pt x="384809" y="954722"/>
                </a:cubicBezTo>
                <a:cubicBezTo>
                  <a:pt x="384809" y="954722"/>
                  <a:pt x="384809" y="954722"/>
                  <a:pt x="384809" y="944244"/>
                </a:cubicBezTo>
                <a:close/>
                <a:moveTo>
                  <a:pt x="371474" y="931862"/>
                </a:moveTo>
                <a:cubicBezTo>
                  <a:pt x="371474" y="931862"/>
                  <a:pt x="371474" y="931862"/>
                  <a:pt x="371474" y="989012"/>
                </a:cubicBezTo>
                <a:lnTo>
                  <a:pt x="383856" y="989012"/>
                </a:lnTo>
                <a:cubicBezTo>
                  <a:pt x="383856" y="989012"/>
                  <a:pt x="383856" y="989012"/>
                  <a:pt x="383856" y="967104"/>
                </a:cubicBezTo>
                <a:cubicBezTo>
                  <a:pt x="383856" y="967104"/>
                  <a:pt x="383856" y="967104"/>
                  <a:pt x="398144" y="967104"/>
                </a:cubicBezTo>
                <a:cubicBezTo>
                  <a:pt x="398144" y="967104"/>
                  <a:pt x="398144" y="967104"/>
                  <a:pt x="413384" y="989012"/>
                </a:cubicBezTo>
                <a:cubicBezTo>
                  <a:pt x="413384" y="989012"/>
                  <a:pt x="413384" y="989012"/>
                  <a:pt x="428624" y="989012"/>
                </a:cubicBezTo>
                <a:cubicBezTo>
                  <a:pt x="428624" y="989012"/>
                  <a:pt x="428624" y="989012"/>
                  <a:pt x="412431" y="966152"/>
                </a:cubicBezTo>
                <a:cubicBezTo>
                  <a:pt x="419099" y="964247"/>
                  <a:pt x="422909" y="957579"/>
                  <a:pt x="422909" y="949959"/>
                </a:cubicBezTo>
                <a:cubicBezTo>
                  <a:pt x="422909" y="939482"/>
                  <a:pt x="416241" y="931862"/>
                  <a:pt x="406716" y="931862"/>
                </a:cubicBezTo>
                <a:cubicBezTo>
                  <a:pt x="406716" y="931862"/>
                  <a:pt x="406716" y="931862"/>
                  <a:pt x="371474" y="931862"/>
                </a:cubicBezTo>
                <a:close/>
                <a:moveTo>
                  <a:pt x="371474" y="865187"/>
                </a:moveTo>
                <a:lnTo>
                  <a:pt x="371474" y="922337"/>
                </a:lnTo>
                <a:lnTo>
                  <a:pt x="419099" y="922337"/>
                </a:lnTo>
                <a:lnTo>
                  <a:pt x="419099" y="910907"/>
                </a:lnTo>
                <a:lnTo>
                  <a:pt x="383856" y="910907"/>
                </a:lnTo>
                <a:lnTo>
                  <a:pt x="383856" y="898524"/>
                </a:lnTo>
                <a:lnTo>
                  <a:pt x="417194" y="898524"/>
                </a:lnTo>
                <a:lnTo>
                  <a:pt x="417194" y="887094"/>
                </a:lnTo>
                <a:lnTo>
                  <a:pt x="383856" y="887094"/>
                </a:lnTo>
                <a:lnTo>
                  <a:pt x="383856" y="876617"/>
                </a:lnTo>
                <a:lnTo>
                  <a:pt x="419099" y="876617"/>
                </a:lnTo>
                <a:lnTo>
                  <a:pt x="419099" y="865187"/>
                </a:lnTo>
                <a:close/>
                <a:moveTo>
                  <a:pt x="251459" y="831849"/>
                </a:moveTo>
                <a:cubicBezTo>
                  <a:pt x="251459" y="831849"/>
                  <a:pt x="251459" y="831849"/>
                  <a:pt x="276224" y="831849"/>
                </a:cubicBezTo>
                <a:cubicBezTo>
                  <a:pt x="279081" y="831849"/>
                  <a:pt x="281939" y="834707"/>
                  <a:pt x="281939" y="837564"/>
                </a:cubicBezTo>
                <a:cubicBezTo>
                  <a:pt x="281939" y="840422"/>
                  <a:pt x="279081" y="843279"/>
                  <a:pt x="276224" y="843279"/>
                </a:cubicBezTo>
                <a:cubicBezTo>
                  <a:pt x="276224" y="843279"/>
                  <a:pt x="276224" y="843279"/>
                  <a:pt x="251459" y="843279"/>
                </a:cubicBezTo>
                <a:close/>
                <a:moveTo>
                  <a:pt x="332422" y="811848"/>
                </a:moveTo>
                <a:lnTo>
                  <a:pt x="341947" y="833755"/>
                </a:lnTo>
                <a:lnTo>
                  <a:pt x="322897" y="833755"/>
                </a:lnTo>
                <a:close/>
                <a:moveTo>
                  <a:pt x="518159" y="810895"/>
                </a:moveTo>
                <a:cubicBezTo>
                  <a:pt x="518159" y="810895"/>
                  <a:pt x="518159" y="810895"/>
                  <a:pt x="538162" y="810895"/>
                </a:cubicBezTo>
                <a:cubicBezTo>
                  <a:pt x="541972" y="810895"/>
                  <a:pt x="543877" y="812800"/>
                  <a:pt x="543877" y="815658"/>
                </a:cubicBezTo>
                <a:cubicBezTo>
                  <a:pt x="543877" y="818515"/>
                  <a:pt x="541019" y="821373"/>
                  <a:pt x="538162" y="821373"/>
                </a:cubicBezTo>
                <a:cubicBezTo>
                  <a:pt x="538162" y="821373"/>
                  <a:pt x="538162" y="821373"/>
                  <a:pt x="518159" y="821373"/>
                </a:cubicBezTo>
                <a:cubicBezTo>
                  <a:pt x="518159" y="821373"/>
                  <a:pt x="518159" y="821373"/>
                  <a:pt x="518159" y="810895"/>
                </a:cubicBezTo>
                <a:close/>
                <a:moveTo>
                  <a:pt x="251459" y="810894"/>
                </a:moveTo>
                <a:cubicBezTo>
                  <a:pt x="251459" y="810894"/>
                  <a:pt x="251459" y="810894"/>
                  <a:pt x="275271" y="810894"/>
                </a:cubicBezTo>
                <a:cubicBezTo>
                  <a:pt x="278129" y="810894"/>
                  <a:pt x="280034" y="812799"/>
                  <a:pt x="280034" y="815657"/>
                </a:cubicBezTo>
                <a:cubicBezTo>
                  <a:pt x="280034" y="818514"/>
                  <a:pt x="278129" y="820419"/>
                  <a:pt x="275271" y="820419"/>
                </a:cubicBezTo>
                <a:cubicBezTo>
                  <a:pt x="275271" y="820419"/>
                  <a:pt x="275271" y="820419"/>
                  <a:pt x="251459" y="820419"/>
                </a:cubicBezTo>
                <a:close/>
                <a:moveTo>
                  <a:pt x="438150" y="798513"/>
                </a:moveTo>
                <a:lnTo>
                  <a:pt x="438150" y="855663"/>
                </a:lnTo>
                <a:lnTo>
                  <a:pt x="485775" y="855663"/>
                </a:lnTo>
                <a:lnTo>
                  <a:pt x="485775" y="844233"/>
                </a:lnTo>
                <a:lnTo>
                  <a:pt x="450532" y="844233"/>
                </a:lnTo>
                <a:lnTo>
                  <a:pt x="450532" y="831850"/>
                </a:lnTo>
                <a:lnTo>
                  <a:pt x="485775" y="831850"/>
                </a:lnTo>
                <a:lnTo>
                  <a:pt x="485775" y="820420"/>
                </a:lnTo>
                <a:lnTo>
                  <a:pt x="450532" y="820420"/>
                </a:lnTo>
                <a:lnTo>
                  <a:pt x="450532" y="809943"/>
                </a:lnTo>
                <a:lnTo>
                  <a:pt x="485775" y="809943"/>
                </a:lnTo>
                <a:lnTo>
                  <a:pt x="485775" y="798513"/>
                </a:lnTo>
                <a:close/>
                <a:moveTo>
                  <a:pt x="361950" y="798513"/>
                </a:moveTo>
                <a:lnTo>
                  <a:pt x="388620" y="835660"/>
                </a:lnTo>
                <a:lnTo>
                  <a:pt x="388620" y="855663"/>
                </a:lnTo>
                <a:lnTo>
                  <a:pt x="401955" y="855663"/>
                </a:lnTo>
                <a:lnTo>
                  <a:pt x="401955" y="835660"/>
                </a:lnTo>
                <a:lnTo>
                  <a:pt x="428625" y="798513"/>
                </a:lnTo>
                <a:lnTo>
                  <a:pt x="413385" y="798513"/>
                </a:lnTo>
                <a:lnTo>
                  <a:pt x="396240" y="823278"/>
                </a:lnTo>
                <a:lnTo>
                  <a:pt x="377190" y="798513"/>
                </a:lnTo>
                <a:close/>
                <a:moveTo>
                  <a:pt x="504824" y="798513"/>
                </a:moveTo>
                <a:cubicBezTo>
                  <a:pt x="504824" y="798513"/>
                  <a:pt x="504824" y="798513"/>
                  <a:pt x="504824" y="855663"/>
                </a:cubicBezTo>
                <a:cubicBezTo>
                  <a:pt x="504824" y="855663"/>
                  <a:pt x="504824" y="855663"/>
                  <a:pt x="518159" y="855663"/>
                </a:cubicBezTo>
                <a:cubicBezTo>
                  <a:pt x="518159" y="855663"/>
                  <a:pt x="518159" y="855663"/>
                  <a:pt x="518159" y="833755"/>
                </a:cubicBezTo>
                <a:cubicBezTo>
                  <a:pt x="518159" y="833755"/>
                  <a:pt x="518159" y="833755"/>
                  <a:pt x="528637" y="833755"/>
                </a:cubicBezTo>
                <a:lnTo>
                  <a:pt x="545782" y="855663"/>
                </a:lnTo>
                <a:cubicBezTo>
                  <a:pt x="545782" y="855663"/>
                  <a:pt x="545782" y="855663"/>
                  <a:pt x="561975" y="855663"/>
                </a:cubicBezTo>
                <a:cubicBezTo>
                  <a:pt x="561975" y="855663"/>
                  <a:pt x="561975" y="855663"/>
                  <a:pt x="544830" y="833755"/>
                </a:cubicBezTo>
                <a:cubicBezTo>
                  <a:pt x="552450" y="830898"/>
                  <a:pt x="558165" y="824230"/>
                  <a:pt x="558165" y="816610"/>
                </a:cubicBezTo>
                <a:cubicBezTo>
                  <a:pt x="558165" y="806133"/>
                  <a:pt x="549592" y="798513"/>
                  <a:pt x="540067" y="798513"/>
                </a:cubicBezTo>
                <a:cubicBezTo>
                  <a:pt x="540067" y="798513"/>
                  <a:pt x="540067" y="798513"/>
                  <a:pt x="504824" y="798513"/>
                </a:cubicBezTo>
                <a:close/>
                <a:moveTo>
                  <a:pt x="326707" y="798513"/>
                </a:moveTo>
                <a:lnTo>
                  <a:pt x="300037" y="855662"/>
                </a:lnTo>
                <a:lnTo>
                  <a:pt x="314324" y="855662"/>
                </a:lnTo>
                <a:lnTo>
                  <a:pt x="318134" y="845185"/>
                </a:lnTo>
                <a:lnTo>
                  <a:pt x="347662" y="845185"/>
                </a:lnTo>
                <a:lnTo>
                  <a:pt x="352424" y="855662"/>
                </a:lnTo>
                <a:lnTo>
                  <a:pt x="366712" y="855662"/>
                </a:lnTo>
                <a:lnTo>
                  <a:pt x="339089" y="798513"/>
                </a:lnTo>
                <a:close/>
                <a:moveTo>
                  <a:pt x="238124" y="798512"/>
                </a:moveTo>
                <a:cubicBezTo>
                  <a:pt x="238124" y="798512"/>
                  <a:pt x="238124" y="798512"/>
                  <a:pt x="238124" y="855662"/>
                </a:cubicBezTo>
                <a:cubicBezTo>
                  <a:pt x="238124" y="855662"/>
                  <a:pt x="238124" y="855662"/>
                  <a:pt x="278129" y="855662"/>
                </a:cubicBezTo>
                <a:cubicBezTo>
                  <a:pt x="287654" y="855662"/>
                  <a:pt x="295274" y="848042"/>
                  <a:pt x="295274" y="838517"/>
                </a:cubicBezTo>
                <a:cubicBezTo>
                  <a:pt x="295274" y="833754"/>
                  <a:pt x="293369" y="828992"/>
                  <a:pt x="289559" y="826134"/>
                </a:cubicBezTo>
                <a:cubicBezTo>
                  <a:pt x="292416" y="823277"/>
                  <a:pt x="294321" y="819467"/>
                  <a:pt x="293369" y="815657"/>
                </a:cubicBezTo>
                <a:cubicBezTo>
                  <a:pt x="293369" y="806132"/>
                  <a:pt x="286701" y="798512"/>
                  <a:pt x="277176" y="798512"/>
                </a:cubicBezTo>
                <a:cubicBezTo>
                  <a:pt x="277176" y="798512"/>
                  <a:pt x="277176" y="798512"/>
                  <a:pt x="238124" y="798512"/>
                </a:cubicBezTo>
                <a:close/>
                <a:moveTo>
                  <a:pt x="394334" y="745172"/>
                </a:moveTo>
                <a:lnTo>
                  <a:pt x="403859" y="767079"/>
                </a:lnTo>
                <a:lnTo>
                  <a:pt x="384809" y="767079"/>
                </a:lnTo>
                <a:close/>
                <a:moveTo>
                  <a:pt x="388619" y="731837"/>
                </a:moveTo>
                <a:lnTo>
                  <a:pt x="361949" y="788987"/>
                </a:lnTo>
                <a:lnTo>
                  <a:pt x="376236" y="788987"/>
                </a:lnTo>
                <a:lnTo>
                  <a:pt x="380046" y="778509"/>
                </a:lnTo>
                <a:lnTo>
                  <a:pt x="409574" y="778509"/>
                </a:lnTo>
                <a:lnTo>
                  <a:pt x="414336" y="788987"/>
                </a:lnTo>
                <a:lnTo>
                  <a:pt x="428624" y="788987"/>
                </a:lnTo>
                <a:lnTo>
                  <a:pt x="401001" y="731837"/>
                </a:lnTo>
                <a:close/>
                <a:moveTo>
                  <a:pt x="384810" y="698500"/>
                </a:moveTo>
                <a:cubicBezTo>
                  <a:pt x="384810" y="698500"/>
                  <a:pt x="384810" y="698500"/>
                  <a:pt x="409575" y="698500"/>
                </a:cubicBezTo>
                <a:cubicBezTo>
                  <a:pt x="413385" y="698500"/>
                  <a:pt x="415290" y="701358"/>
                  <a:pt x="415290" y="704215"/>
                </a:cubicBezTo>
                <a:cubicBezTo>
                  <a:pt x="415290" y="707073"/>
                  <a:pt x="412432" y="709930"/>
                  <a:pt x="409575" y="709930"/>
                </a:cubicBezTo>
                <a:cubicBezTo>
                  <a:pt x="409575" y="709930"/>
                  <a:pt x="409575" y="709930"/>
                  <a:pt x="384810" y="709930"/>
                </a:cubicBezTo>
                <a:close/>
                <a:moveTo>
                  <a:pt x="384810" y="677545"/>
                </a:moveTo>
                <a:cubicBezTo>
                  <a:pt x="384810" y="677545"/>
                  <a:pt x="384810" y="677545"/>
                  <a:pt x="408622" y="677545"/>
                </a:cubicBezTo>
                <a:cubicBezTo>
                  <a:pt x="411480" y="677545"/>
                  <a:pt x="413385" y="679450"/>
                  <a:pt x="413385" y="682308"/>
                </a:cubicBezTo>
                <a:cubicBezTo>
                  <a:pt x="413385" y="685165"/>
                  <a:pt x="411480" y="687070"/>
                  <a:pt x="408622" y="687070"/>
                </a:cubicBezTo>
                <a:cubicBezTo>
                  <a:pt x="408622" y="687070"/>
                  <a:pt x="408622" y="687070"/>
                  <a:pt x="384810" y="687070"/>
                </a:cubicBezTo>
                <a:close/>
                <a:moveTo>
                  <a:pt x="371475" y="665163"/>
                </a:moveTo>
                <a:cubicBezTo>
                  <a:pt x="371475" y="665163"/>
                  <a:pt x="371475" y="665163"/>
                  <a:pt x="371475" y="722313"/>
                </a:cubicBezTo>
                <a:cubicBezTo>
                  <a:pt x="371475" y="722313"/>
                  <a:pt x="371475" y="722313"/>
                  <a:pt x="411480" y="722313"/>
                </a:cubicBezTo>
                <a:cubicBezTo>
                  <a:pt x="421005" y="722313"/>
                  <a:pt x="428625" y="714693"/>
                  <a:pt x="428625" y="705168"/>
                </a:cubicBezTo>
                <a:cubicBezTo>
                  <a:pt x="428625" y="700405"/>
                  <a:pt x="426720" y="695643"/>
                  <a:pt x="423862" y="692785"/>
                </a:cubicBezTo>
                <a:cubicBezTo>
                  <a:pt x="425767" y="689928"/>
                  <a:pt x="427672" y="686118"/>
                  <a:pt x="426720" y="682308"/>
                </a:cubicBezTo>
                <a:cubicBezTo>
                  <a:pt x="426720" y="672783"/>
                  <a:pt x="420052" y="665163"/>
                  <a:pt x="410527" y="665163"/>
                </a:cubicBezTo>
                <a:cubicBezTo>
                  <a:pt x="410527" y="665163"/>
                  <a:pt x="410527" y="665163"/>
                  <a:pt x="371475" y="665163"/>
                </a:cubicBezTo>
                <a:close/>
                <a:moveTo>
                  <a:pt x="395906" y="651618"/>
                </a:moveTo>
                <a:cubicBezTo>
                  <a:pt x="461672" y="651618"/>
                  <a:pt x="520052" y="683540"/>
                  <a:pt x="556452" y="732650"/>
                </a:cubicBezTo>
                <a:cubicBezTo>
                  <a:pt x="566299" y="746068"/>
                  <a:pt x="574564" y="760757"/>
                  <a:pt x="580894" y="776411"/>
                </a:cubicBezTo>
                <a:lnTo>
                  <a:pt x="580897" y="776421"/>
                </a:lnTo>
                <a:lnTo>
                  <a:pt x="556803" y="733457"/>
                </a:lnTo>
                <a:cubicBezTo>
                  <a:pt x="520404" y="684370"/>
                  <a:pt x="462023" y="652463"/>
                  <a:pt x="396257" y="652463"/>
                </a:cubicBezTo>
                <a:cubicBezTo>
                  <a:pt x="488400" y="652463"/>
                  <a:pt x="564189" y="723990"/>
                  <a:pt x="570519" y="814451"/>
                </a:cubicBezTo>
                <a:cubicBezTo>
                  <a:pt x="570695" y="818483"/>
                  <a:pt x="570871" y="822515"/>
                  <a:pt x="570871" y="826722"/>
                </a:cubicBezTo>
                <a:cubicBezTo>
                  <a:pt x="570871" y="830755"/>
                  <a:pt x="570695" y="834962"/>
                  <a:pt x="570519" y="838994"/>
                </a:cubicBezTo>
                <a:cubicBezTo>
                  <a:pt x="564189" y="929279"/>
                  <a:pt x="488400" y="1000806"/>
                  <a:pt x="396257" y="1000806"/>
                </a:cubicBezTo>
                <a:cubicBezTo>
                  <a:pt x="330316" y="1000806"/>
                  <a:pt x="271936" y="969075"/>
                  <a:pt x="235712" y="919988"/>
                </a:cubicBezTo>
                <a:cubicBezTo>
                  <a:pt x="225776" y="906577"/>
                  <a:pt x="217512" y="891894"/>
                  <a:pt x="211203" y="876226"/>
                </a:cubicBezTo>
                <a:lnTo>
                  <a:pt x="211136" y="875965"/>
                </a:lnTo>
                <a:lnTo>
                  <a:pt x="235360" y="919269"/>
                </a:lnTo>
                <a:cubicBezTo>
                  <a:pt x="271760" y="968379"/>
                  <a:pt x="329964" y="1000125"/>
                  <a:pt x="395906" y="1000125"/>
                </a:cubicBezTo>
                <a:cubicBezTo>
                  <a:pt x="303763" y="1000125"/>
                  <a:pt x="227974" y="928565"/>
                  <a:pt x="221644" y="838237"/>
                </a:cubicBezTo>
                <a:cubicBezTo>
                  <a:pt x="221292" y="834203"/>
                  <a:pt x="221292" y="829993"/>
                  <a:pt x="221292" y="825959"/>
                </a:cubicBezTo>
                <a:cubicBezTo>
                  <a:pt x="221292" y="821750"/>
                  <a:pt x="221292" y="817716"/>
                  <a:pt x="221644" y="813682"/>
                </a:cubicBezTo>
                <a:cubicBezTo>
                  <a:pt x="227974" y="723179"/>
                  <a:pt x="303763" y="651618"/>
                  <a:pt x="395906" y="651618"/>
                </a:cubicBezTo>
                <a:close/>
                <a:moveTo>
                  <a:pt x="395906" y="627063"/>
                </a:moveTo>
                <a:cubicBezTo>
                  <a:pt x="289872" y="627063"/>
                  <a:pt x="203356" y="709498"/>
                  <a:pt x="196850" y="813682"/>
                </a:cubicBezTo>
                <a:lnTo>
                  <a:pt x="197141" y="816580"/>
                </a:lnTo>
                <a:lnTo>
                  <a:pt x="196850" y="826722"/>
                </a:lnTo>
                <a:cubicBezTo>
                  <a:pt x="196850" y="830755"/>
                  <a:pt x="197026" y="834962"/>
                  <a:pt x="197202" y="838994"/>
                </a:cubicBezTo>
                <a:cubicBezTo>
                  <a:pt x="203708" y="943129"/>
                  <a:pt x="290223" y="1025525"/>
                  <a:pt x="396257" y="1025525"/>
                </a:cubicBezTo>
                <a:cubicBezTo>
                  <a:pt x="502291" y="1025525"/>
                  <a:pt x="588807" y="943129"/>
                  <a:pt x="595313" y="838994"/>
                </a:cubicBezTo>
                <a:lnTo>
                  <a:pt x="595023" y="836065"/>
                </a:lnTo>
                <a:lnTo>
                  <a:pt x="595313" y="825959"/>
                </a:lnTo>
                <a:cubicBezTo>
                  <a:pt x="595313" y="821750"/>
                  <a:pt x="595137" y="817716"/>
                  <a:pt x="594961" y="813682"/>
                </a:cubicBezTo>
                <a:cubicBezTo>
                  <a:pt x="588455" y="709498"/>
                  <a:pt x="501940" y="627063"/>
                  <a:pt x="395906" y="627063"/>
                </a:cubicBezTo>
                <a:close/>
                <a:moveTo>
                  <a:pt x="0" y="0"/>
                </a:moveTo>
                <a:lnTo>
                  <a:pt x="4723899" y="0"/>
                </a:lnTo>
                <a:lnTo>
                  <a:pt x="6057037" y="0"/>
                </a:lnTo>
                <a:lnTo>
                  <a:pt x="5820308" y="1220872"/>
                </a:lnTo>
                <a:lnTo>
                  <a:pt x="3753506" y="6877049"/>
                </a:lnTo>
                <a:lnTo>
                  <a:pt x="0" y="6877049"/>
                </a:lnTo>
                <a:close/>
              </a:path>
            </a:pathLst>
          </a:custGeom>
          <a:gradFill>
            <a:gsLst>
              <a:gs pos="0">
                <a:srgbClr val="004422"/>
              </a:gs>
              <a:gs pos="54000">
                <a:srgbClr val="004422">
                  <a:alpha val="92000"/>
                </a:srgbClr>
              </a:gs>
              <a:gs pos="100000">
                <a:srgbClr val="004422">
                  <a:alpha val="70000"/>
                </a:srgbClr>
              </a:gs>
            </a:gsLst>
            <a:lin ang="0" scaled="1"/>
          </a:gra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2" y="853724"/>
            <a:ext cx="3566523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bg1"/>
                </a:solidFill>
              </a:defRPr>
            </a:lvl1pPr>
            <a:lvl2pPr marL="0" indent="0" algn="l">
              <a:buNone/>
              <a:defRPr sz="1350">
                <a:solidFill>
                  <a:schemeClr val="bg1"/>
                </a:solidFill>
              </a:defRPr>
            </a:lvl2pPr>
            <a:lvl3pPr marL="0" indent="0" algn="l">
              <a:buNone/>
              <a:defRPr sz="1350">
                <a:solidFill>
                  <a:schemeClr val="bg1"/>
                </a:solidFill>
              </a:defRPr>
            </a:lvl3pPr>
            <a:lvl4pPr marL="0" indent="0" algn="l">
              <a:buNone/>
              <a:defRPr sz="1350">
                <a:solidFill>
                  <a:schemeClr val="bg1"/>
                </a:solidFill>
              </a:defRPr>
            </a:lvl4pPr>
            <a:lvl5pPr marL="0" indent="0" algn="l">
              <a:buNone/>
              <a:defRPr sz="1350">
                <a:solidFill>
                  <a:schemeClr val="bg1"/>
                </a:solidFill>
              </a:defRPr>
            </a:lvl5pPr>
            <a:lvl6pPr marL="0" indent="0" algn="l">
              <a:buNone/>
              <a:defRPr sz="1350">
                <a:solidFill>
                  <a:schemeClr val="bg1"/>
                </a:solidFill>
              </a:defRPr>
            </a:lvl6pPr>
            <a:lvl7pPr marL="0" indent="0" algn="l">
              <a:buNone/>
              <a:defRPr sz="1350">
                <a:solidFill>
                  <a:schemeClr val="bg1"/>
                </a:solidFill>
              </a:defRPr>
            </a:lvl7pPr>
            <a:lvl8pPr marL="0" indent="0" algn="l">
              <a:buNone/>
              <a:defRPr sz="1350">
                <a:solidFill>
                  <a:schemeClr val="bg1"/>
                </a:solidFill>
              </a:defRPr>
            </a:lvl8pPr>
            <a:lvl9pPr marL="0" indent="0" algn="l">
              <a:buNone/>
              <a:defRPr sz="13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36462" y="136454"/>
            <a:ext cx="3566523" cy="64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 bwMode="gray">
          <a:xfrm>
            <a:off x="735307" y="1299563"/>
            <a:ext cx="3567678" cy="35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025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 marL="405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3pPr>
            <a:lvl4pPr marL="6075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4pPr>
            <a:lvl5pPr marL="810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5pPr>
            <a:lvl6pPr marL="810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6pPr>
            <a:lvl7pPr marL="810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7pPr>
            <a:lvl8pPr marL="810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8pPr>
            <a:lvl9pPr marL="810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1331FD4-EA88-474F-B28A-D936852B8013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 flipV="1">
            <a:off x="2826260" y="-15244"/>
            <a:ext cx="1880500" cy="515970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8" name="Group 87">
            <a:extLst>
              <a:ext uri="{FF2B5EF4-FFF2-40B4-BE49-F238E27FC236}">
                <a16:creationId xmlns:a16="http://schemas.microsoft.com/office/drawing/2014/main" id="{BF368E06-E651-43DF-8459-70233C09131B}"/>
              </a:ext>
            </a:extLst>
          </p:cNvPr>
          <p:cNvGrpSpPr/>
          <p:nvPr userDrawn="1"/>
        </p:nvGrpSpPr>
        <p:grpSpPr>
          <a:xfrm>
            <a:off x="147657" y="463153"/>
            <a:ext cx="298886" cy="298847"/>
            <a:chOff x="196850" y="617538"/>
            <a:chExt cx="398463" cy="398462"/>
          </a:xfrm>
        </p:grpSpPr>
        <p:sp>
          <p:nvSpPr>
            <p:cNvPr id="77" name="Freeform 14">
              <a:extLst>
                <a:ext uri="{FF2B5EF4-FFF2-40B4-BE49-F238E27FC236}">
                  <a16:creationId xmlns:a16="http://schemas.microsoft.com/office/drawing/2014/main" id="{A8BD6A9D-3DE1-4AE7-A61E-D2D6E4FAE3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50" y="617538"/>
              <a:ext cx="398463" cy="373062"/>
            </a:xfrm>
            <a:custGeom>
              <a:avLst/>
              <a:gdLst>
                <a:gd name="T0" fmla="*/ 2264 w 2266"/>
                <a:gd name="T1" fmla="*/ 1064 h 2127"/>
                <a:gd name="T2" fmla="*/ 1132 w 2266"/>
                <a:gd name="T3" fmla="*/ 0 h 2127"/>
                <a:gd name="T4" fmla="*/ 0 w 2266"/>
                <a:gd name="T5" fmla="*/ 1064 h 2127"/>
                <a:gd name="T6" fmla="*/ 7 w 2266"/>
                <a:gd name="T7" fmla="*/ 1134 h 2127"/>
                <a:gd name="T8" fmla="*/ 219 w 2266"/>
                <a:gd name="T9" fmla="*/ 1666 h 2127"/>
                <a:gd name="T10" fmla="*/ 1132 w 2266"/>
                <a:gd name="T11" fmla="*/ 2127 h 2127"/>
                <a:gd name="T12" fmla="*/ 141 w 2266"/>
                <a:gd name="T13" fmla="*/ 1204 h 2127"/>
                <a:gd name="T14" fmla="*/ 139 w 2266"/>
                <a:gd name="T15" fmla="*/ 1134 h 2127"/>
                <a:gd name="T16" fmla="*/ 141 w 2266"/>
                <a:gd name="T17" fmla="*/ 1064 h 2127"/>
                <a:gd name="T18" fmla="*/ 1132 w 2266"/>
                <a:gd name="T19" fmla="*/ 140 h 2127"/>
                <a:gd name="T20" fmla="*/ 2045 w 2266"/>
                <a:gd name="T21" fmla="*/ 602 h 2127"/>
                <a:gd name="T22" fmla="*/ 2257 w 2266"/>
                <a:gd name="T23" fmla="*/ 1134 h 2127"/>
                <a:gd name="T24" fmla="*/ 2264 w 2266"/>
                <a:gd name="T25" fmla="*/ 1204 h 2127"/>
                <a:gd name="T26" fmla="*/ 2266 w 2266"/>
                <a:gd name="T27" fmla="*/ 1134 h 2127"/>
                <a:gd name="T28" fmla="*/ 2264 w 2266"/>
                <a:gd name="T29" fmla="*/ 1064 h 2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66" h="2127">
                  <a:moveTo>
                    <a:pt x="2264" y="1064"/>
                  </a:moveTo>
                  <a:cubicBezTo>
                    <a:pt x="2227" y="470"/>
                    <a:pt x="1735" y="0"/>
                    <a:pt x="1132" y="0"/>
                  </a:cubicBezTo>
                  <a:cubicBezTo>
                    <a:pt x="529" y="0"/>
                    <a:pt x="37" y="470"/>
                    <a:pt x="0" y="1064"/>
                  </a:cubicBezTo>
                  <a:cubicBezTo>
                    <a:pt x="2" y="1087"/>
                    <a:pt x="4" y="1111"/>
                    <a:pt x="7" y="1134"/>
                  </a:cubicBezTo>
                  <a:cubicBezTo>
                    <a:pt x="31" y="1332"/>
                    <a:pt x="107" y="1513"/>
                    <a:pt x="219" y="1666"/>
                  </a:cubicBezTo>
                  <a:cubicBezTo>
                    <a:pt x="426" y="1946"/>
                    <a:pt x="757" y="2127"/>
                    <a:pt x="1132" y="2127"/>
                  </a:cubicBezTo>
                  <a:cubicBezTo>
                    <a:pt x="608" y="2127"/>
                    <a:pt x="177" y="1719"/>
                    <a:pt x="141" y="1204"/>
                  </a:cubicBezTo>
                  <a:cubicBezTo>
                    <a:pt x="139" y="1181"/>
                    <a:pt x="139" y="1157"/>
                    <a:pt x="139" y="1134"/>
                  </a:cubicBezTo>
                  <a:cubicBezTo>
                    <a:pt x="139" y="1110"/>
                    <a:pt x="139" y="1087"/>
                    <a:pt x="141" y="1064"/>
                  </a:cubicBezTo>
                  <a:cubicBezTo>
                    <a:pt x="177" y="548"/>
                    <a:pt x="608" y="140"/>
                    <a:pt x="1132" y="140"/>
                  </a:cubicBezTo>
                  <a:cubicBezTo>
                    <a:pt x="1506" y="140"/>
                    <a:pt x="1838" y="322"/>
                    <a:pt x="2045" y="602"/>
                  </a:cubicBezTo>
                  <a:cubicBezTo>
                    <a:pt x="2157" y="755"/>
                    <a:pt x="2233" y="937"/>
                    <a:pt x="2257" y="1134"/>
                  </a:cubicBezTo>
                  <a:cubicBezTo>
                    <a:pt x="2260" y="1157"/>
                    <a:pt x="2262" y="1181"/>
                    <a:pt x="2264" y="1204"/>
                  </a:cubicBezTo>
                  <a:cubicBezTo>
                    <a:pt x="2265" y="1181"/>
                    <a:pt x="2266" y="1157"/>
                    <a:pt x="2266" y="1134"/>
                  </a:cubicBezTo>
                  <a:cubicBezTo>
                    <a:pt x="2266" y="1110"/>
                    <a:pt x="2265" y="1087"/>
                    <a:pt x="2264" y="1064"/>
                  </a:cubicBezTo>
                </a:path>
              </a:pathLst>
            </a:custGeom>
            <a:solidFill>
              <a:srgbClr val="89D3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/>
            </a:p>
          </p:txBody>
        </p:sp>
        <p:sp>
          <p:nvSpPr>
            <p:cNvPr id="78" name="Freeform 15">
              <a:extLst>
                <a:ext uri="{FF2B5EF4-FFF2-40B4-BE49-F238E27FC236}">
                  <a16:creationId xmlns:a16="http://schemas.microsoft.com/office/drawing/2014/main" id="{90A4B927-099A-4A30-A5CE-83F6359EC1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50" y="642938"/>
              <a:ext cx="398463" cy="373062"/>
            </a:xfrm>
            <a:custGeom>
              <a:avLst/>
              <a:gdLst>
                <a:gd name="T0" fmla="*/ 2 w 2266"/>
                <a:gd name="T1" fmla="*/ 1064 h 2128"/>
                <a:gd name="T2" fmla="*/ 1134 w 2266"/>
                <a:gd name="T3" fmla="*/ 2128 h 2128"/>
                <a:gd name="T4" fmla="*/ 2266 w 2266"/>
                <a:gd name="T5" fmla="*/ 1064 h 2128"/>
                <a:gd name="T6" fmla="*/ 2259 w 2266"/>
                <a:gd name="T7" fmla="*/ 993 h 2128"/>
                <a:gd name="T8" fmla="*/ 2047 w 2266"/>
                <a:gd name="T9" fmla="*/ 462 h 2128"/>
                <a:gd name="T10" fmla="*/ 1134 w 2266"/>
                <a:gd name="T11" fmla="*/ 0 h 2128"/>
                <a:gd name="T12" fmla="*/ 2125 w 2266"/>
                <a:gd name="T13" fmla="*/ 924 h 2128"/>
                <a:gd name="T14" fmla="*/ 2127 w 2266"/>
                <a:gd name="T15" fmla="*/ 994 h 2128"/>
                <a:gd name="T16" fmla="*/ 2125 w 2266"/>
                <a:gd name="T17" fmla="*/ 1064 h 2128"/>
                <a:gd name="T18" fmla="*/ 1134 w 2266"/>
                <a:gd name="T19" fmla="*/ 1987 h 2128"/>
                <a:gd name="T20" fmla="*/ 221 w 2266"/>
                <a:gd name="T21" fmla="*/ 1526 h 2128"/>
                <a:gd name="T22" fmla="*/ 9 w 2266"/>
                <a:gd name="T23" fmla="*/ 993 h 2128"/>
                <a:gd name="T24" fmla="*/ 2 w 2266"/>
                <a:gd name="T25" fmla="*/ 924 h 2128"/>
                <a:gd name="T26" fmla="*/ 0 w 2266"/>
                <a:gd name="T27" fmla="*/ 994 h 2128"/>
                <a:gd name="T28" fmla="*/ 2 w 2266"/>
                <a:gd name="T29" fmla="*/ 1064 h 2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66" h="2128">
                  <a:moveTo>
                    <a:pt x="2" y="1064"/>
                  </a:moveTo>
                  <a:cubicBezTo>
                    <a:pt x="39" y="1658"/>
                    <a:pt x="531" y="2128"/>
                    <a:pt x="1134" y="2128"/>
                  </a:cubicBezTo>
                  <a:cubicBezTo>
                    <a:pt x="1737" y="2128"/>
                    <a:pt x="2229" y="1658"/>
                    <a:pt x="2266" y="1064"/>
                  </a:cubicBezTo>
                  <a:cubicBezTo>
                    <a:pt x="2264" y="1040"/>
                    <a:pt x="2262" y="1017"/>
                    <a:pt x="2259" y="993"/>
                  </a:cubicBezTo>
                  <a:cubicBezTo>
                    <a:pt x="2235" y="796"/>
                    <a:pt x="2159" y="614"/>
                    <a:pt x="2047" y="462"/>
                  </a:cubicBezTo>
                  <a:cubicBezTo>
                    <a:pt x="1840" y="182"/>
                    <a:pt x="1508" y="0"/>
                    <a:pt x="1134" y="0"/>
                  </a:cubicBezTo>
                  <a:cubicBezTo>
                    <a:pt x="1658" y="0"/>
                    <a:pt x="2089" y="408"/>
                    <a:pt x="2125" y="924"/>
                  </a:cubicBezTo>
                  <a:cubicBezTo>
                    <a:pt x="2126" y="947"/>
                    <a:pt x="2127" y="970"/>
                    <a:pt x="2127" y="994"/>
                  </a:cubicBezTo>
                  <a:cubicBezTo>
                    <a:pt x="2127" y="1017"/>
                    <a:pt x="2126" y="1041"/>
                    <a:pt x="2125" y="1064"/>
                  </a:cubicBezTo>
                  <a:cubicBezTo>
                    <a:pt x="2089" y="1579"/>
                    <a:pt x="1658" y="1987"/>
                    <a:pt x="1134" y="1987"/>
                  </a:cubicBezTo>
                  <a:cubicBezTo>
                    <a:pt x="759" y="1987"/>
                    <a:pt x="427" y="1806"/>
                    <a:pt x="221" y="1526"/>
                  </a:cubicBezTo>
                  <a:cubicBezTo>
                    <a:pt x="108" y="1373"/>
                    <a:pt x="33" y="1191"/>
                    <a:pt x="9" y="993"/>
                  </a:cubicBezTo>
                  <a:cubicBezTo>
                    <a:pt x="6" y="970"/>
                    <a:pt x="4" y="947"/>
                    <a:pt x="2" y="924"/>
                  </a:cubicBezTo>
                  <a:cubicBezTo>
                    <a:pt x="1" y="947"/>
                    <a:pt x="0" y="970"/>
                    <a:pt x="0" y="994"/>
                  </a:cubicBezTo>
                  <a:cubicBezTo>
                    <a:pt x="0" y="1017"/>
                    <a:pt x="1" y="1041"/>
                    <a:pt x="2" y="1064"/>
                  </a:cubicBezTo>
                </a:path>
              </a:pathLst>
            </a:custGeom>
            <a:solidFill>
              <a:srgbClr val="00B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CBB84282-7173-4ABE-AA77-C364CC103371}"/>
                </a:ext>
              </a:extLst>
            </p:cNvPr>
            <p:cNvSpPr/>
            <p:nvPr userDrawn="1"/>
          </p:nvSpPr>
          <p:spPr>
            <a:xfrm>
              <a:off x="364331" y="648494"/>
              <a:ext cx="66675" cy="66675"/>
            </a:xfrm>
            <a:custGeom>
              <a:avLst/>
              <a:gdLst>
                <a:gd name="connsiteX0" fmla="*/ 20479 w 66675"/>
                <a:gd name="connsiteY0" fmla="*/ 29051 h 66675"/>
                <a:gd name="connsiteX1" fmla="*/ 44291 w 66675"/>
                <a:gd name="connsiteY1" fmla="*/ 29051 h 66675"/>
                <a:gd name="connsiteX2" fmla="*/ 49054 w 66675"/>
                <a:gd name="connsiteY2" fmla="*/ 24289 h 66675"/>
                <a:gd name="connsiteX3" fmla="*/ 44291 w 66675"/>
                <a:gd name="connsiteY3" fmla="*/ 19526 h 66675"/>
                <a:gd name="connsiteX4" fmla="*/ 20479 w 66675"/>
                <a:gd name="connsiteY4" fmla="*/ 19526 h 66675"/>
                <a:gd name="connsiteX5" fmla="*/ 20479 w 66675"/>
                <a:gd name="connsiteY5" fmla="*/ 29051 h 66675"/>
                <a:gd name="connsiteX6" fmla="*/ 20479 w 66675"/>
                <a:gd name="connsiteY6" fmla="*/ 29051 h 66675"/>
                <a:gd name="connsiteX7" fmla="*/ 20479 w 66675"/>
                <a:gd name="connsiteY7" fmla="*/ 29051 h 66675"/>
                <a:gd name="connsiteX8" fmla="*/ 20479 w 66675"/>
                <a:gd name="connsiteY8" fmla="*/ 51911 h 66675"/>
                <a:gd name="connsiteX9" fmla="*/ 45244 w 66675"/>
                <a:gd name="connsiteY9" fmla="*/ 51911 h 66675"/>
                <a:gd name="connsiteX10" fmla="*/ 50959 w 66675"/>
                <a:gd name="connsiteY10" fmla="*/ 46196 h 66675"/>
                <a:gd name="connsiteX11" fmla="*/ 45244 w 66675"/>
                <a:gd name="connsiteY11" fmla="*/ 40481 h 66675"/>
                <a:gd name="connsiteX12" fmla="*/ 20479 w 66675"/>
                <a:gd name="connsiteY12" fmla="*/ 40481 h 66675"/>
                <a:gd name="connsiteX13" fmla="*/ 20479 w 66675"/>
                <a:gd name="connsiteY13" fmla="*/ 51911 h 66675"/>
                <a:gd name="connsiteX14" fmla="*/ 20479 w 66675"/>
                <a:gd name="connsiteY14" fmla="*/ 51911 h 66675"/>
                <a:gd name="connsiteX15" fmla="*/ 20479 w 66675"/>
                <a:gd name="connsiteY15" fmla="*/ 51911 h 66675"/>
                <a:gd name="connsiteX16" fmla="*/ 59531 w 66675"/>
                <a:gd name="connsiteY16" fmla="*/ 34766 h 66675"/>
                <a:gd name="connsiteX17" fmla="*/ 64294 w 66675"/>
                <a:gd name="connsiteY17" fmla="*/ 47149 h 66675"/>
                <a:gd name="connsiteX18" fmla="*/ 47149 w 66675"/>
                <a:gd name="connsiteY18" fmla="*/ 64294 h 66675"/>
                <a:gd name="connsiteX19" fmla="*/ 7144 w 66675"/>
                <a:gd name="connsiteY19" fmla="*/ 64294 h 66675"/>
                <a:gd name="connsiteX20" fmla="*/ 7144 w 66675"/>
                <a:gd name="connsiteY20" fmla="*/ 7144 h 66675"/>
                <a:gd name="connsiteX21" fmla="*/ 46196 w 66675"/>
                <a:gd name="connsiteY21" fmla="*/ 7144 h 66675"/>
                <a:gd name="connsiteX22" fmla="*/ 62389 w 66675"/>
                <a:gd name="connsiteY22" fmla="*/ 24289 h 66675"/>
                <a:gd name="connsiteX23" fmla="*/ 59531 w 66675"/>
                <a:gd name="connsiteY23" fmla="*/ 34766 h 66675"/>
                <a:gd name="connsiteX24" fmla="*/ 59531 w 66675"/>
                <a:gd name="connsiteY24" fmla="*/ 3476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6675" h="66675">
                  <a:moveTo>
                    <a:pt x="20479" y="29051"/>
                  </a:moveTo>
                  <a:cubicBezTo>
                    <a:pt x="44291" y="29051"/>
                    <a:pt x="44291" y="29051"/>
                    <a:pt x="44291" y="29051"/>
                  </a:cubicBezTo>
                  <a:cubicBezTo>
                    <a:pt x="47149" y="29051"/>
                    <a:pt x="49054" y="27146"/>
                    <a:pt x="49054" y="24289"/>
                  </a:cubicBezTo>
                  <a:cubicBezTo>
                    <a:pt x="49054" y="21431"/>
                    <a:pt x="47149" y="19526"/>
                    <a:pt x="44291" y="19526"/>
                  </a:cubicBezTo>
                  <a:cubicBezTo>
                    <a:pt x="20479" y="19526"/>
                    <a:pt x="20479" y="19526"/>
                    <a:pt x="20479" y="19526"/>
                  </a:cubicBezTo>
                  <a:lnTo>
                    <a:pt x="20479" y="29051"/>
                  </a:lnTo>
                  <a:lnTo>
                    <a:pt x="20479" y="29051"/>
                  </a:lnTo>
                  <a:lnTo>
                    <a:pt x="20479" y="29051"/>
                  </a:lnTo>
                  <a:close/>
                  <a:moveTo>
                    <a:pt x="20479" y="51911"/>
                  </a:moveTo>
                  <a:cubicBezTo>
                    <a:pt x="45244" y="51911"/>
                    <a:pt x="45244" y="51911"/>
                    <a:pt x="45244" y="51911"/>
                  </a:cubicBezTo>
                  <a:cubicBezTo>
                    <a:pt x="48101" y="51911"/>
                    <a:pt x="50959" y="49054"/>
                    <a:pt x="50959" y="46196"/>
                  </a:cubicBezTo>
                  <a:cubicBezTo>
                    <a:pt x="50959" y="43339"/>
                    <a:pt x="49054" y="40481"/>
                    <a:pt x="45244" y="40481"/>
                  </a:cubicBezTo>
                  <a:cubicBezTo>
                    <a:pt x="20479" y="40481"/>
                    <a:pt x="20479" y="40481"/>
                    <a:pt x="20479" y="40481"/>
                  </a:cubicBezTo>
                  <a:lnTo>
                    <a:pt x="20479" y="51911"/>
                  </a:lnTo>
                  <a:lnTo>
                    <a:pt x="20479" y="51911"/>
                  </a:lnTo>
                  <a:lnTo>
                    <a:pt x="20479" y="51911"/>
                  </a:lnTo>
                  <a:close/>
                  <a:moveTo>
                    <a:pt x="59531" y="34766"/>
                  </a:moveTo>
                  <a:cubicBezTo>
                    <a:pt x="62389" y="37624"/>
                    <a:pt x="64294" y="42386"/>
                    <a:pt x="64294" y="47149"/>
                  </a:cubicBezTo>
                  <a:cubicBezTo>
                    <a:pt x="64294" y="56674"/>
                    <a:pt x="56674" y="64294"/>
                    <a:pt x="47149" y="64294"/>
                  </a:cubicBezTo>
                  <a:cubicBezTo>
                    <a:pt x="7144" y="64294"/>
                    <a:pt x="7144" y="64294"/>
                    <a:pt x="7144" y="64294"/>
                  </a:cubicBezTo>
                  <a:cubicBezTo>
                    <a:pt x="7144" y="7144"/>
                    <a:pt x="7144" y="7144"/>
                    <a:pt x="7144" y="7144"/>
                  </a:cubicBezTo>
                  <a:cubicBezTo>
                    <a:pt x="46196" y="7144"/>
                    <a:pt x="46196" y="7144"/>
                    <a:pt x="46196" y="7144"/>
                  </a:cubicBezTo>
                  <a:cubicBezTo>
                    <a:pt x="55721" y="7144"/>
                    <a:pt x="62389" y="14764"/>
                    <a:pt x="62389" y="24289"/>
                  </a:cubicBezTo>
                  <a:cubicBezTo>
                    <a:pt x="63341" y="28099"/>
                    <a:pt x="61436" y="31909"/>
                    <a:pt x="59531" y="34766"/>
                  </a:cubicBezTo>
                  <a:lnTo>
                    <a:pt x="59531" y="3476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E2468611-14ED-4059-A4A1-38E6F55150E4}"/>
                </a:ext>
              </a:extLst>
            </p:cNvPr>
            <p:cNvSpPr/>
            <p:nvPr userDrawn="1"/>
          </p:nvSpPr>
          <p:spPr>
            <a:xfrm>
              <a:off x="354806" y="781844"/>
              <a:ext cx="76200" cy="66675"/>
            </a:xfrm>
            <a:custGeom>
              <a:avLst/>
              <a:gdLst>
                <a:gd name="connsiteX0" fmla="*/ 58579 w 76200"/>
                <a:gd name="connsiteY0" fmla="*/ 7144 h 66675"/>
                <a:gd name="connsiteX1" fmla="*/ 73819 w 76200"/>
                <a:gd name="connsiteY1" fmla="*/ 7144 h 66675"/>
                <a:gd name="connsiteX2" fmla="*/ 47149 w 76200"/>
                <a:gd name="connsiteY2" fmla="*/ 44291 h 66675"/>
                <a:gd name="connsiteX3" fmla="*/ 47149 w 76200"/>
                <a:gd name="connsiteY3" fmla="*/ 64294 h 66675"/>
                <a:gd name="connsiteX4" fmla="*/ 33814 w 76200"/>
                <a:gd name="connsiteY4" fmla="*/ 64294 h 66675"/>
                <a:gd name="connsiteX5" fmla="*/ 33814 w 76200"/>
                <a:gd name="connsiteY5" fmla="*/ 44291 h 66675"/>
                <a:gd name="connsiteX6" fmla="*/ 7144 w 76200"/>
                <a:gd name="connsiteY6" fmla="*/ 7144 h 66675"/>
                <a:gd name="connsiteX7" fmla="*/ 22384 w 76200"/>
                <a:gd name="connsiteY7" fmla="*/ 7144 h 66675"/>
                <a:gd name="connsiteX8" fmla="*/ 41434 w 76200"/>
                <a:gd name="connsiteY8" fmla="*/ 31909 h 66675"/>
                <a:gd name="connsiteX9" fmla="*/ 58579 w 76200"/>
                <a:gd name="connsiteY9" fmla="*/ 7144 h 66675"/>
                <a:gd name="connsiteX10" fmla="*/ 58579 w 76200"/>
                <a:gd name="connsiteY10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6200" h="66675">
                  <a:moveTo>
                    <a:pt x="58579" y="7144"/>
                  </a:moveTo>
                  <a:lnTo>
                    <a:pt x="73819" y="7144"/>
                  </a:lnTo>
                  <a:lnTo>
                    <a:pt x="47149" y="44291"/>
                  </a:lnTo>
                  <a:lnTo>
                    <a:pt x="47149" y="64294"/>
                  </a:lnTo>
                  <a:lnTo>
                    <a:pt x="33814" y="64294"/>
                  </a:lnTo>
                  <a:lnTo>
                    <a:pt x="33814" y="44291"/>
                  </a:lnTo>
                  <a:lnTo>
                    <a:pt x="7144" y="7144"/>
                  </a:lnTo>
                  <a:lnTo>
                    <a:pt x="22384" y="7144"/>
                  </a:lnTo>
                  <a:lnTo>
                    <a:pt x="41434" y="31909"/>
                  </a:lnTo>
                  <a:lnTo>
                    <a:pt x="58579" y="7144"/>
                  </a:lnTo>
                  <a:lnTo>
                    <a:pt x="58579" y="71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62E56C6D-8FF0-4CB3-97CD-D56D796D74BA}"/>
                </a:ext>
              </a:extLst>
            </p:cNvPr>
            <p:cNvSpPr/>
            <p:nvPr userDrawn="1"/>
          </p:nvSpPr>
          <p:spPr>
            <a:xfrm>
              <a:off x="431006" y="781844"/>
              <a:ext cx="57150" cy="66675"/>
            </a:xfrm>
            <a:custGeom>
              <a:avLst/>
              <a:gdLst>
                <a:gd name="connsiteX0" fmla="*/ 54769 w 57150"/>
                <a:gd name="connsiteY0" fmla="*/ 7144 h 66675"/>
                <a:gd name="connsiteX1" fmla="*/ 54769 w 57150"/>
                <a:gd name="connsiteY1" fmla="*/ 18574 h 66675"/>
                <a:gd name="connsiteX2" fmla="*/ 19526 w 57150"/>
                <a:gd name="connsiteY2" fmla="*/ 18574 h 66675"/>
                <a:gd name="connsiteX3" fmla="*/ 19526 w 57150"/>
                <a:gd name="connsiteY3" fmla="*/ 29051 h 66675"/>
                <a:gd name="connsiteX4" fmla="*/ 54769 w 57150"/>
                <a:gd name="connsiteY4" fmla="*/ 29051 h 66675"/>
                <a:gd name="connsiteX5" fmla="*/ 54769 w 57150"/>
                <a:gd name="connsiteY5" fmla="*/ 40481 h 66675"/>
                <a:gd name="connsiteX6" fmla="*/ 19526 w 57150"/>
                <a:gd name="connsiteY6" fmla="*/ 40481 h 66675"/>
                <a:gd name="connsiteX7" fmla="*/ 19526 w 57150"/>
                <a:gd name="connsiteY7" fmla="*/ 52864 h 66675"/>
                <a:gd name="connsiteX8" fmla="*/ 54769 w 57150"/>
                <a:gd name="connsiteY8" fmla="*/ 52864 h 66675"/>
                <a:gd name="connsiteX9" fmla="*/ 54769 w 57150"/>
                <a:gd name="connsiteY9" fmla="*/ 64294 h 66675"/>
                <a:gd name="connsiteX10" fmla="*/ 7144 w 57150"/>
                <a:gd name="connsiteY10" fmla="*/ 64294 h 66675"/>
                <a:gd name="connsiteX11" fmla="*/ 7144 w 57150"/>
                <a:gd name="connsiteY11" fmla="*/ 7144 h 66675"/>
                <a:gd name="connsiteX12" fmla="*/ 54769 w 57150"/>
                <a:gd name="connsiteY12" fmla="*/ 7144 h 66675"/>
                <a:gd name="connsiteX13" fmla="*/ 54769 w 57150"/>
                <a:gd name="connsiteY13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66675">
                  <a:moveTo>
                    <a:pt x="54769" y="7144"/>
                  </a:moveTo>
                  <a:lnTo>
                    <a:pt x="54769" y="18574"/>
                  </a:lnTo>
                  <a:lnTo>
                    <a:pt x="19526" y="18574"/>
                  </a:lnTo>
                  <a:lnTo>
                    <a:pt x="19526" y="29051"/>
                  </a:lnTo>
                  <a:lnTo>
                    <a:pt x="54769" y="29051"/>
                  </a:lnTo>
                  <a:lnTo>
                    <a:pt x="54769" y="40481"/>
                  </a:lnTo>
                  <a:lnTo>
                    <a:pt x="19526" y="40481"/>
                  </a:lnTo>
                  <a:lnTo>
                    <a:pt x="19526" y="52864"/>
                  </a:lnTo>
                  <a:lnTo>
                    <a:pt x="54769" y="52864"/>
                  </a:lnTo>
                  <a:lnTo>
                    <a:pt x="54769" y="64294"/>
                  </a:lnTo>
                  <a:lnTo>
                    <a:pt x="7144" y="64294"/>
                  </a:lnTo>
                  <a:lnTo>
                    <a:pt x="7144" y="7144"/>
                  </a:lnTo>
                  <a:lnTo>
                    <a:pt x="54769" y="7144"/>
                  </a:lnTo>
                  <a:lnTo>
                    <a:pt x="54769" y="71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EE17AD4-992C-4E2E-B2A3-780E7B1025EE}"/>
                </a:ext>
              </a:extLst>
            </p:cNvPr>
            <p:cNvSpPr/>
            <p:nvPr userDrawn="1"/>
          </p:nvSpPr>
          <p:spPr>
            <a:xfrm>
              <a:off x="497681" y="781844"/>
              <a:ext cx="66675" cy="66675"/>
            </a:xfrm>
            <a:custGeom>
              <a:avLst/>
              <a:gdLst>
                <a:gd name="connsiteX0" fmla="*/ 30956 w 66675"/>
                <a:gd name="connsiteY0" fmla="*/ 42386 h 66675"/>
                <a:gd name="connsiteX1" fmla="*/ 20479 w 66675"/>
                <a:gd name="connsiteY1" fmla="*/ 42386 h 66675"/>
                <a:gd name="connsiteX2" fmla="*/ 20479 w 66675"/>
                <a:gd name="connsiteY2" fmla="*/ 64294 h 66675"/>
                <a:gd name="connsiteX3" fmla="*/ 7144 w 66675"/>
                <a:gd name="connsiteY3" fmla="*/ 64294 h 66675"/>
                <a:gd name="connsiteX4" fmla="*/ 7144 w 66675"/>
                <a:gd name="connsiteY4" fmla="*/ 7144 h 66675"/>
                <a:gd name="connsiteX5" fmla="*/ 42386 w 66675"/>
                <a:gd name="connsiteY5" fmla="*/ 7144 h 66675"/>
                <a:gd name="connsiteX6" fmla="*/ 60484 w 66675"/>
                <a:gd name="connsiteY6" fmla="*/ 25241 h 66675"/>
                <a:gd name="connsiteX7" fmla="*/ 47149 w 66675"/>
                <a:gd name="connsiteY7" fmla="*/ 42386 h 66675"/>
                <a:gd name="connsiteX8" fmla="*/ 64294 w 66675"/>
                <a:gd name="connsiteY8" fmla="*/ 64294 h 66675"/>
                <a:gd name="connsiteX9" fmla="*/ 48101 w 66675"/>
                <a:gd name="connsiteY9" fmla="*/ 64294 h 66675"/>
                <a:gd name="connsiteX10" fmla="*/ 30956 w 66675"/>
                <a:gd name="connsiteY10" fmla="*/ 42386 h 66675"/>
                <a:gd name="connsiteX11" fmla="*/ 30956 w 66675"/>
                <a:gd name="connsiteY11" fmla="*/ 42386 h 66675"/>
                <a:gd name="connsiteX12" fmla="*/ 30956 w 66675"/>
                <a:gd name="connsiteY12" fmla="*/ 42386 h 66675"/>
                <a:gd name="connsiteX13" fmla="*/ 40481 w 66675"/>
                <a:gd name="connsiteY13" fmla="*/ 19526 h 66675"/>
                <a:gd name="connsiteX14" fmla="*/ 20479 w 66675"/>
                <a:gd name="connsiteY14" fmla="*/ 19526 h 66675"/>
                <a:gd name="connsiteX15" fmla="*/ 20479 w 66675"/>
                <a:gd name="connsiteY15" fmla="*/ 30004 h 66675"/>
                <a:gd name="connsiteX16" fmla="*/ 40481 w 66675"/>
                <a:gd name="connsiteY16" fmla="*/ 30004 h 66675"/>
                <a:gd name="connsiteX17" fmla="*/ 46196 w 66675"/>
                <a:gd name="connsiteY17" fmla="*/ 24289 h 66675"/>
                <a:gd name="connsiteX18" fmla="*/ 40481 w 66675"/>
                <a:gd name="connsiteY18" fmla="*/ 19526 h 66675"/>
                <a:gd name="connsiteX19" fmla="*/ 40481 w 66675"/>
                <a:gd name="connsiteY19" fmla="*/ 1952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6675" h="66675">
                  <a:moveTo>
                    <a:pt x="30956" y="42386"/>
                  </a:moveTo>
                  <a:cubicBezTo>
                    <a:pt x="20479" y="42386"/>
                    <a:pt x="20479" y="42386"/>
                    <a:pt x="20479" y="42386"/>
                  </a:cubicBezTo>
                  <a:cubicBezTo>
                    <a:pt x="20479" y="64294"/>
                    <a:pt x="20479" y="64294"/>
                    <a:pt x="20479" y="64294"/>
                  </a:cubicBezTo>
                  <a:cubicBezTo>
                    <a:pt x="7144" y="64294"/>
                    <a:pt x="7144" y="64294"/>
                    <a:pt x="7144" y="64294"/>
                  </a:cubicBezTo>
                  <a:cubicBezTo>
                    <a:pt x="7144" y="7144"/>
                    <a:pt x="7144" y="7144"/>
                    <a:pt x="7144" y="7144"/>
                  </a:cubicBezTo>
                  <a:cubicBezTo>
                    <a:pt x="42386" y="7144"/>
                    <a:pt x="42386" y="7144"/>
                    <a:pt x="42386" y="7144"/>
                  </a:cubicBezTo>
                  <a:cubicBezTo>
                    <a:pt x="51911" y="7144"/>
                    <a:pt x="60484" y="14764"/>
                    <a:pt x="60484" y="25241"/>
                  </a:cubicBezTo>
                  <a:cubicBezTo>
                    <a:pt x="60484" y="32861"/>
                    <a:pt x="54769" y="39529"/>
                    <a:pt x="47149" y="42386"/>
                  </a:cubicBezTo>
                  <a:cubicBezTo>
                    <a:pt x="64294" y="64294"/>
                    <a:pt x="64294" y="64294"/>
                    <a:pt x="64294" y="64294"/>
                  </a:cubicBezTo>
                  <a:cubicBezTo>
                    <a:pt x="48101" y="64294"/>
                    <a:pt x="48101" y="64294"/>
                    <a:pt x="48101" y="64294"/>
                  </a:cubicBezTo>
                  <a:lnTo>
                    <a:pt x="30956" y="42386"/>
                  </a:lnTo>
                  <a:lnTo>
                    <a:pt x="30956" y="42386"/>
                  </a:lnTo>
                  <a:lnTo>
                    <a:pt x="30956" y="42386"/>
                  </a:lnTo>
                  <a:close/>
                  <a:moveTo>
                    <a:pt x="40481" y="19526"/>
                  </a:moveTo>
                  <a:cubicBezTo>
                    <a:pt x="20479" y="19526"/>
                    <a:pt x="20479" y="19526"/>
                    <a:pt x="20479" y="19526"/>
                  </a:cubicBezTo>
                  <a:cubicBezTo>
                    <a:pt x="20479" y="30004"/>
                    <a:pt x="20479" y="30004"/>
                    <a:pt x="20479" y="30004"/>
                  </a:cubicBezTo>
                  <a:cubicBezTo>
                    <a:pt x="40481" y="30004"/>
                    <a:pt x="40481" y="30004"/>
                    <a:pt x="40481" y="30004"/>
                  </a:cubicBezTo>
                  <a:cubicBezTo>
                    <a:pt x="43339" y="30004"/>
                    <a:pt x="46196" y="27146"/>
                    <a:pt x="46196" y="24289"/>
                  </a:cubicBezTo>
                  <a:cubicBezTo>
                    <a:pt x="46196" y="21431"/>
                    <a:pt x="44291" y="19526"/>
                    <a:pt x="40481" y="19526"/>
                  </a:cubicBezTo>
                  <a:lnTo>
                    <a:pt x="40481" y="1952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576EDDD6-D502-41C5-A2D5-9E1A2DBC2DEE}"/>
                </a:ext>
              </a:extLst>
            </p:cNvPr>
            <p:cNvSpPr/>
            <p:nvPr userDrawn="1"/>
          </p:nvSpPr>
          <p:spPr>
            <a:xfrm>
              <a:off x="292894" y="781844"/>
              <a:ext cx="76200" cy="66675"/>
            </a:xfrm>
            <a:custGeom>
              <a:avLst/>
              <a:gdLst>
                <a:gd name="connsiteX0" fmla="*/ 73819 w 76200"/>
                <a:gd name="connsiteY0" fmla="*/ 64294 h 66675"/>
                <a:gd name="connsiteX1" fmla="*/ 59531 w 76200"/>
                <a:gd name="connsiteY1" fmla="*/ 64294 h 66675"/>
                <a:gd name="connsiteX2" fmla="*/ 54769 w 76200"/>
                <a:gd name="connsiteY2" fmla="*/ 53816 h 66675"/>
                <a:gd name="connsiteX3" fmla="*/ 25241 w 76200"/>
                <a:gd name="connsiteY3" fmla="*/ 53816 h 66675"/>
                <a:gd name="connsiteX4" fmla="*/ 21431 w 76200"/>
                <a:gd name="connsiteY4" fmla="*/ 64294 h 66675"/>
                <a:gd name="connsiteX5" fmla="*/ 7144 w 76200"/>
                <a:gd name="connsiteY5" fmla="*/ 64294 h 66675"/>
                <a:gd name="connsiteX6" fmla="*/ 33814 w 76200"/>
                <a:gd name="connsiteY6" fmla="*/ 7144 h 66675"/>
                <a:gd name="connsiteX7" fmla="*/ 46196 w 76200"/>
                <a:gd name="connsiteY7" fmla="*/ 7144 h 66675"/>
                <a:gd name="connsiteX8" fmla="*/ 73819 w 76200"/>
                <a:gd name="connsiteY8" fmla="*/ 64294 h 66675"/>
                <a:gd name="connsiteX9" fmla="*/ 73819 w 76200"/>
                <a:gd name="connsiteY9" fmla="*/ 64294 h 66675"/>
                <a:gd name="connsiteX10" fmla="*/ 73819 w 76200"/>
                <a:gd name="connsiteY10" fmla="*/ 64294 h 66675"/>
                <a:gd name="connsiteX11" fmla="*/ 39529 w 76200"/>
                <a:gd name="connsiteY11" fmla="*/ 20479 h 66675"/>
                <a:gd name="connsiteX12" fmla="*/ 30004 w 76200"/>
                <a:gd name="connsiteY12" fmla="*/ 42386 h 66675"/>
                <a:gd name="connsiteX13" fmla="*/ 49054 w 76200"/>
                <a:gd name="connsiteY13" fmla="*/ 42386 h 66675"/>
                <a:gd name="connsiteX14" fmla="*/ 39529 w 76200"/>
                <a:gd name="connsiteY14" fmla="*/ 20479 h 66675"/>
                <a:gd name="connsiteX15" fmla="*/ 39529 w 76200"/>
                <a:gd name="connsiteY15" fmla="*/ 20479 h 66675"/>
                <a:gd name="connsiteX16" fmla="*/ 39529 w 76200"/>
                <a:gd name="connsiteY16" fmla="*/ 20479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200" h="66675">
                  <a:moveTo>
                    <a:pt x="73819" y="64294"/>
                  </a:moveTo>
                  <a:lnTo>
                    <a:pt x="59531" y="64294"/>
                  </a:lnTo>
                  <a:lnTo>
                    <a:pt x="54769" y="53816"/>
                  </a:lnTo>
                  <a:lnTo>
                    <a:pt x="25241" y="53816"/>
                  </a:lnTo>
                  <a:lnTo>
                    <a:pt x="21431" y="64294"/>
                  </a:lnTo>
                  <a:lnTo>
                    <a:pt x="7144" y="64294"/>
                  </a:lnTo>
                  <a:lnTo>
                    <a:pt x="33814" y="7144"/>
                  </a:lnTo>
                  <a:lnTo>
                    <a:pt x="46196" y="7144"/>
                  </a:lnTo>
                  <a:lnTo>
                    <a:pt x="73819" y="64294"/>
                  </a:lnTo>
                  <a:lnTo>
                    <a:pt x="73819" y="64294"/>
                  </a:lnTo>
                  <a:lnTo>
                    <a:pt x="73819" y="64294"/>
                  </a:lnTo>
                  <a:close/>
                  <a:moveTo>
                    <a:pt x="39529" y="20479"/>
                  </a:moveTo>
                  <a:lnTo>
                    <a:pt x="30004" y="42386"/>
                  </a:lnTo>
                  <a:lnTo>
                    <a:pt x="49054" y="42386"/>
                  </a:lnTo>
                  <a:lnTo>
                    <a:pt x="39529" y="20479"/>
                  </a:lnTo>
                  <a:lnTo>
                    <a:pt x="39529" y="20479"/>
                  </a:lnTo>
                  <a:lnTo>
                    <a:pt x="39529" y="204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87D4DC8E-4291-46B6-8E96-0A15F4632844}"/>
                </a:ext>
              </a:extLst>
            </p:cNvPr>
            <p:cNvSpPr/>
            <p:nvPr userDrawn="1"/>
          </p:nvSpPr>
          <p:spPr>
            <a:xfrm>
              <a:off x="354806" y="715169"/>
              <a:ext cx="76200" cy="66675"/>
            </a:xfrm>
            <a:custGeom>
              <a:avLst/>
              <a:gdLst>
                <a:gd name="connsiteX0" fmla="*/ 73819 w 76200"/>
                <a:gd name="connsiteY0" fmla="*/ 64294 h 66675"/>
                <a:gd name="connsiteX1" fmla="*/ 59531 w 76200"/>
                <a:gd name="connsiteY1" fmla="*/ 64294 h 66675"/>
                <a:gd name="connsiteX2" fmla="*/ 54769 w 76200"/>
                <a:gd name="connsiteY2" fmla="*/ 53816 h 66675"/>
                <a:gd name="connsiteX3" fmla="*/ 25241 w 76200"/>
                <a:gd name="connsiteY3" fmla="*/ 53816 h 66675"/>
                <a:gd name="connsiteX4" fmla="*/ 21431 w 76200"/>
                <a:gd name="connsiteY4" fmla="*/ 64294 h 66675"/>
                <a:gd name="connsiteX5" fmla="*/ 7144 w 76200"/>
                <a:gd name="connsiteY5" fmla="*/ 64294 h 66675"/>
                <a:gd name="connsiteX6" fmla="*/ 33814 w 76200"/>
                <a:gd name="connsiteY6" fmla="*/ 7144 h 66675"/>
                <a:gd name="connsiteX7" fmla="*/ 46196 w 76200"/>
                <a:gd name="connsiteY7" fmla="*/ 7144 h 66675"/>
                <a:gd name="connsiteX8" fmla="*/ 73819 w 76200"/>
                <a:gd name="connsiteY8" fmla="*/ 64294 h 66675"/>
                <a:gd name="connsiteX9" fmla="*/ 73819 w 76200"/>
                <a:gd name="connsiteY9" fmla="*/ 64294 h 66675"/>
                <a:gd name="connsiteX10" fmla="*/ 73819 w 76200"/>
                <a:gd name="connsiteY10" fmla="*/ 64294 h 66675"/>
                <a:gd name="connsiteX11" fmla="*/ 39529 w 76200"/>
                <a:gd name="connsiteY11" fmla="*/ 20479 h 66675"/>
                <a:gd name="connsiteX12" fmla="*/ 30004 w 76200"/>
                <a:gd name="connsiteY12" fmla="*/ 42386 h 66675"/>
                <a:gd name="connsiteX13" fmla="*/ 49054 w 76200"/>
                <a:gd name="connsiteY13" fmla="*/ 42386 h 66675"/>
                <a:gd name="connsiteX14" fmla="*/ 39529 w 76200"/>
                <a:gd name="connsiteY14" fmla="*/ 20479 h 66675"/>
                <a:gd name="connsiteX15" fmla="*/ 39529 w 76200"/>
                <a:gd name="connsiteY15" fmla="*/ 20479 h 66675"/>
                <a:gd name="connsiteX16" fmla="*/ 39529 w 76200"/>
                <a:gd name="connsiteY16" fmla="*/ 20479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200" h="66675">
                  <a:moveTo>
                    <a:pt x="73819" y="64294"/>
                  </a:moveTo>
                  <a:lnTo>
                    <a:pt x="59531" y="64294"/>
                  </a:lnTo>
                  <a:lnTo>
                    <a:pt x="54769" y="53816"/>
                  </a:lnTo>
                  <a:lnTo>
                    <a:pt x="25241" y="53816"/>
                  </a:lnTo>
                  <a:lnTo>
                    <a:pt x="21431" y="64294"/>
                  </a:lnTo>
                  <a:lnTo>
                    <a:pt x="7144" y="64294"/>
                  </a:lnTo>
                  <a:lnTo>
                    <a:pt x="33814" y="7144"/>
                  </a:lnTo>
                  <a:lnTo>
                    <a:pt x="46196" y="7144"/>
                  </a:lnTo>
                  <a:lnTo>
                    <a:pt x="73819" y="64294"/>
                  </a:lnTo>
                  <a:lnTo>
                    <a:pt x="73819" y="64294"/>
                  </a:lnTo>
                  <a:lnTo>
                    <a:pt x="73819" y="64294"/>
                  </a:lnTo>
                  <a:close/>
                  <a:moveTo>
                    <a:pt x="39529" y="20479"/>
                  </a:moveTo>
                  <a:lnTo>
                    <a:pt x="30004" y="42386"/>
                  </a:lnTo>
                  <a:lnTo>
                    <a:pt x="49054" y="42386"/>
                  </a:lnTo>
                  <a:lnTo>
                    <a:pt x="39529" y="20479"/>
                  </a:lnTo>
                  <a:lnTo>
                    <a:pt x="39529" y="20479"/>
                  </a:lnTo>
                  <a:lnTo>
                    <a:pt x="39529" y="204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ACD8AD08-96BD-457C-A4F1-F594CCC9211A}"/>
                </a:ext>
              </a:extLst>
            </p:cNvPr>
            <p:cNvSpPr/>
            <p:nvPr userDrawn="1"/>
          </p:nvSpPr>
          <p:spPr>
            <a:xfrm>
              <a:off x="230981" y="781844"/>
              <a:ext cx="66675" cy="66675"/>
            </a:xfrm>
            <a:custGeom>
              <a:avLst/>
              <a:gdLst>
                <a:gd name="connsiteX0" fmla="*/ 20479 w 66675"/>
                <a:gd name="connsiteY0" fmla="*/ 29051 h 66675"/>
                <a:gd name="connsiteX1" fmla="*/ 44291 w 66675"/>
                <a:gd name="connsiteY1" fmla="*/ 29051 h 66675"/>
                <a:gd name="connsiteX2" fmla="*/ 49054 w 66675"/>
                <a:gd name="connsiteY2" fmla="*/ 24289 h 66675"/>
                <a:gd name="connsiteX3" fmla="*/ 44291 w 66675"/>
                <a:gd name="connsiteY3" fmla="*/ 19526 h 66675"/>
                <a:gd name="connsiteX4" fmla="*/ 20479 w 66675"/>
                <a:gd name="connsiteY4" fmla="*/ 19526 h 66675"/>
                <a:gd name="connsiteX5" fmla="*/ 20479 w 66675"/>
                <a:gd name="connsiteY5" fmla="*/ 29051 h 66675"/>
                <a:gd name="connsiteX6" fmla="*/ 20479 w 66675"/>
                <a:gd name="connsiteY6" fmla="*/ 29051 h 66675"/>
                <a:gd name="connsiteX7" fmla="*/ 20479 w 66675"/>
                <a:gd name="connsiteY7" fmla="*/ 29051 h 66675"/>
                <a:gd name="connsiteX8" fmla="*/ 20479 w 66675"/>
                <a:gd name="connsiteY8" fmla="*/ 51911 h 66675"/>
                <a:gd name="connsiteX9" fmla="*/ 45244 w 66675"/>
                <a:gd name="connsiteY9" fmla="*/ 51911 h 66675"/>
                <a:gd name="connsiteX10" fmla="*/ 50959 w 66675"/>
                <a:gd name="connsiteY10" fmla="*/ 46196 h 66675"/>
                <a:gd name="connsiteX11" fmla="*/ 45244 w 66675"/>
                <a:gd name="connsiteY11" fmla="*/ 40481 h 66675"/>
                <a:gd name="connsiteX12" fmla="*/ 20479 w 66675"/>
                <a:gd name="connsiteY12" fmla="*/ 40481 h 66675"/>
                <a:gd name="connsiteX13" fmla="*/ 20479 w 66675"/>
                <a:gd name="connsiteY13" fmla="*/ 51911 h 66675"/>
                <a:gd name="connsiteX14" fmla="*/ 20479 w 66675"/>
                <a:gd name="connsiteY14" fmla="*/ 51911 h 66675"/>
                <a:gd name="connsiteX15" fmla="*/ 20479 w 66675"/>
                <a:gd name="connsiteY15" fmla="*/ 51911 h 66675"/>
                <a:gd name="connsiteX16" fmla="*/ 58579 w 66675"/>
                <a:gd name="connsiteY16" fmla="*/ 34766 h 66675"/>
                <a:gd name="connsiteX17" fmla="*/ 64294 w 66675"/>
                <a:gd name="connsiteY17" fmla="*/ 47149 h 66675"/>
                <a:gd name="connsiteX18" fmla="*/ 47149 w 66675"/>
                <a:gd name="connsiteY18" fmla="*/ 64294 h 66675"/>
                <a:gd name="connsiteX19" fmla="*/ 7144 w 66675"/>
                <a:gd name="connsiteY19" fmla="*/ 64294 h 66675"/>
                <a:gd name="connsiteX20" fmla="*/ 7144 w 66675"/>
                <a:gd name="connsiteY20" fmla="*/ 7144 h 66675"/>
                <a:gd name="connsiteX21" fmla="*/ 46196 w 66675"/>
                <a:gd name="connsiteY21" fmla="*/ 7144 h 66675"/>
                <a:gd name="connsiteX22" fmla="*/ 62389 w 66675"/>
                <a:gd name="connsiteY22" fmla="*/ 24289 h 66675"/>
                <a:gd name="connsiteX23" fmla="*/ 58579 w 66675"/>
                <a:gd name="connsiteY23" fmla="*/ 34766 h 66675"/>
                <a:gd name="connsiteX24" fmla="*/ 58579 w 66675"/>
                <a:gd name="connsiteY24" fmla="*/ 3476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6675" h="66675">
                  <a:moveTo>
                    <a:pt x="20479" y="29051"/>
                  </a:moveTo>
                  <a:cubicBezTo>
                    <a:pt x="44291" y="29051"/>
                    <a:pt x="44291" y="29051"/>
                    <a:pt x="44291" y="29051"/>
                  </a:cubicBezTo>
                  <a:cubicBezTo>
                    <a:pt x="47149" y="29051"/>
                    <a:pt x="49054" y="27146"/>
                    <a:pt x="49054" y="24289"/>
                  </a:cubicBezTo>
                  <a:cubicBezTo>
                    <a:pt x="49054" y="21431"/>
                    <a:pt x="47149" y="19526"/>
                    <a:pt x="44291" y="19526"/>
                  </a:cubicBezTo>
                  <a:cubicBezTo>
                    <a:pt x="20479" y="19526"/>
                    <a:pt x="20479" y="19526"/>
                    <a:pt x="20479" y="19526"/>
                  </a:cubicBezTo>
                  <a:lnTo>
                    <a:pt x="20479" y="29051"/>
                  </a:lnTo>
                  <a:lnTo>
                    <a:pt x="20479" y="29051"/>
                  </a:lnTo>
                  <a:lnTo>
                    <a:pt x="20479" y="29051"/>
                  </a:lnTo>
                  <a:close/>
                  <a:moveTo>
                    <a:pt x="20479" y="51911"/>
                  </a:moveTo>
                  <a:cubicBezTo>
                    <a:pt x="45244" y="51911"/>
                    <a:pt x="45244" y="51911"/>
                    <a:pt x="45244" y="51911"/>
                  </a:cubicBezTo>
                  <a:cubicBezTo>
                    <a:pt x="48101" y="51911"/>
                    <a:pt x="50959" y="49054"/>
                    <a:pt x="50959" y="46196"/>
                  </a:cubicBezTo>
                  <a:cubicBezTo>
                    <a:pt x="50959" y="43339"/>
                    <a:pt x="48101" y="40481"/>
                    <a:pt x="45244" y="40481"/>
                  </a:cubicBezTo>
                  <a:cubicBezTo>
                    <a:pt x="20479" y="40481"/>
                    <a:pt x="20479" y="40481"/>
                    <a:pt x="20479" y="40481"/>
                  </a:cubicBezTo>
                  <a:lnTo>
                    <a:pt x="20479" y="51911"/>
                  </a:lnTo>
                  <a:lnTo>
                    <a:pt x="20479" y="51911"/>
                  </a:lnTo>
                  <a:lnTo>
                    <a:pt x="20479" y="51911"/>
                  </a:lnTo>
                  <a:close/>
                  <a:moveTo>
                    <a:pt x="58579" y="34766"/>
                  </a:moveTo>
                  <a:cubicBezTo>
                    <a:pt x="62389" y="37624"/>
                    <a:pt x="64294" y="42386"/>
                    <a:pt x="64294" y="47149"/>
                  </a:cubicBezTo>
                  <a:cubicBezTo>
                    <a:pt x="64294" y="56674"/>
                    <a:pt x="56674" y="64294"/>
                    <a:pt x="47149" y="64294"/>
                  </a:cubicBezTo>
                  <a:cubicBezTo>
                    <a:pt x="7144" y="64294"/>
                    <a:pt x="7144" y="64294"/>
                    <a:pt x="7144" y="64294"/>
                  </a:cubicBezTo>
                  <a:cubicBezTo>
                    <a:pt x="7144" y="7144"/>
                    <a:pt x="7144" y="7144"/>
                    <a:pt x="7144" y="7144"/>
                  </a:cubicBezTo>
                  <a:cubicBezTo>
                    <a:pt x="46196" y="7144"/>
                    <a:pt x="46196" y="7144"/>
                    <a:pt x="46196" y="7144"/>
                  </a:cubicBezTo>
                  <a:cubicBezTo>
                    <a:pt x="55721" y="7144"/>
                    <a:pt x="62389" y="14764"/>
                    <a:pt x="62389" y="24289"/>
                  </a:cubicBezTo>
                  <a:cubicBezTo>
                    <a:pt x="63341" y="28099"/>
                    <a:pt x="61436" y="31909"/>
                    <a:pt x="58579" y="34766"/>
                  </a:cubicBezTo>
                  <a:lnTo>
                    <a:pt x="58579" y="3476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DBFE4650-F4B6-42F9-A33B-352ED7C289EB}"/>
                </a:ext>
              </a:extLst>
            </p:cNvPr>
            <p:cNvSpPr/>
            <p:nvPr userDrawn="1"/>
          </p:nvSpPr>
          <p:spPr>
            <a:xfrm>
              <a:off x="364331" y="848519"/>
              <a:ext cx="57150" cy="66675"/>
            </a:xfrm>
            <a:custGeom>
              <a:avLst/>
              <a:gdLst>
                <a:gd name="connsiteX0" fmla="*/ 54769 w 57150"/>
                <a:gd name="connsiteY0" fmla="*/ 7144 h 66675"/>
                <a:gd name="connsiteX1" fmla="*/ 54769 w 57150"/>
                <a:gd name="connsiteY1" fmla="*/ 18574 h 66675"/>
                <a:gd name="connsiteX2" fmla="*/ 19526 w 57150"/>
                <a:gd name="connsiteY2" fmla="*/ 18574 h 66675"/>
                <a:gd name="connsiteX3" fmla="*/ 19526 w 57150"/>
                <a:gd name="connsiteY3" fmla="*/ 29051 h 66675"/>
                <a:gd name="connsiteX4" fmla="*/ 52864 w 57150"/>
                <a:gd name="connsiteY4" fmla="*/ 29051 h 66675"/>
                <a:gd name="connsiteX5" fmla="*/ 52864 w 57150"/>
                <a:gd name="connsiteY5" fmla="*/ 40481 h 66675"/>
                <a:gd name="connsiteX6" fmla="*/ 19526 w 57150"/>
                <a:gd name="connsiteY6" fmla="*/ 40481 h 66675"/>
                <a:gd name="connsiteX7" fmla="*/ 19526 w 57150"/>
                <a:gd name="connsiteY7" fmla="*/ 52864 h 66675"/>
                <a:gd name="connsiteX8" fmla="*/ 54769 w 57150"/>
                <a:gd name="connsiteY8" fmla="*/ 52864 h 66675"/>
                <a:gd name="connsiteX9" fmla="*/ 54769 w 57150"/>
                <a:gd name="connsiteY9" fmla="*/ 64294 h 66675"/>
                <a:gd name="connsiteX10" fmla="*/ 7144 w 57150"/>
                <a:gd name="connsiteY10" fmla="*/ 64294 h 66675"/>
                <a:gd name="connsiteX11" fmla="*/ 7144 w 57150"/>
                <a:gd name="connsiteY11" fmla="*/ 7144 h 66675"/>
                <a:gd name="connsiteX12" fmla="*/ 54769 w 57150"/>
                <a:gd name="connsiteY12" fmla="*/ 7144 h 66675"/>
                <a:gd name="connsiteX13" fmla="*/ 54769 w 57150"/>
                <a:gd name="connsiteY13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66675">
                  <a:moveTo>
                    <a:pt x="54769" y="7144"/>
                  </a:moveTo>
                  <a:lnTo>
                    <a:pt x="54769" y="18574"/>
                  </a:lnTo>
                  <a:lnTo>
                    <a:pt x="19526" y="18574"/>
                  </a:lnTo>
                  <a:lnTo>
                    <a:pt x="19526" y="29051"/>
                  </a:lnTo>
                  <a:lnTo>
                    <a:pt x="52864" y="29051"/>
                  </a:lnTo>
                  <a:lnTo>
                    <a:pt x="52864" y="40481"/>
                  </a:lnTo>
                  <a:lnTo>
                    <a:pt x="19526" y="40481"/>
                  </a:lnTo>
                  <a:lnTo>
                    <a:pt x="19526" y="52864"/>
                  </a:lnTo>
                  <a:lnTo>
                    <a:pt x="54769" y="52864"/>
                  </a:lnTo>
                  <a:lnTo>
                    <a:pt x="54769" y="64294"/>
                  </a:lnTo>
                  <a:lnTo>
                    <a:pt x="7144" y="64294"/>
                  </a:lnTo>
                  <a:lnTo>
                    <a:pt x="7144" y="7144"/>
                  </a:lnTo>
                  <a:lnTo>
                    <a:pt x="54769" y="7144"/>
                  </a:lnTo>
                  <a:lnTo>
                    <a:pt x="54769" y="71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76605BD5-8751-4F6A-9EDE-721BC47CD945}"/>
                </a:ext>
              </a:extLst>
            </p:cNvPr>
            <p:cNvSpPr/>
            <p:nvPr userDrawn="1"/>
          </p:nvSpPr>
          <p:spPr>
            <a:xfrm>
              <a:off x="364331" y="915194"/>
              <a:ext cx="66675" cy="66675"/>
            </a:xfrm>
            <a:custGeom>
              <a:avLst/>
              <a:gdLst>
                <a:gd name="connsiteX0" fmla="*/ 46196 w 66675"/>
                <a:gd name="connsiteY0" fmla="*/ 25241 h 66675"/>
                <a:gd name="connsiteX1" fmla="*/ 41434 w 66675"/>
                <a:gd name="connsiteY1" fmla="*/ 19526 h 66675"/>
                <a:gd name="connsiteX2" fmla="*/ 20479 w 66675"/>
                <a:gd name="connsiteY2" fmla="*/ 19526 h 66675"/>
                <a:gd name="connsiteX3" fmla="*/ 20479 w 66675"/>
                <a:gd name="connsiteY3" fmla="*/ 30004 h 66675"/>
                <a:gd name="connsiteX4" fmla="*/ 41434 w 66675"/>
                <a:gd name="connsiteY4" fmla="*/ 30004 h 66675"/>
                <a:gd name="connsiteX5" fmla="*/ 46196 w 66675"/>
                <a:gd name="connsiteY5" fmla="*/ 25241 h 66675"/>
                <a:gd name="connsiteX6" fmla="*/ 46196 w 66675"/>
                <a:gd name="connsiteY6" fmla="*/ 25241 h 66675"/>
                <a:gd name="connsiteX7" fmla="*/ 7144 w 66675"/>
                <a:gd name="connsiteY7" fmla="*/ 64294 h 66675"/>
                <a:gd name="connsiteX8" fmla="*/ 7144 w 66675"/>
                <a:gd name="connsiteY8" fmla="*/ 7144 h 66675"/>
                <a:gd name="connsiteX9" fmla="*/ 42386 w 66675"/>
                <a:gd name="connsiteY9" fmla="*/ 7144 h 66675"/>
                <a:gd name="connsiteX10" fmla="*/ 58579 w 66675"/>
                <a:gd name="connsiteY10" fmla="*/ 25241 h 66675"/>
                <a:gd name="connsiteX11" fmla="*/ 48101 w 66675"/>
                <a:gd name="connsiteY11" fmla="*/ 41434 h 66675"/>
                <a:gd name="connsiteX12" fmla="*/ 64294 w 66675"/>
                <a:gd name="connsiteY12" fmla="*/ 64294 h 66675"/>
                <a:gd name="connsiteX13" fmla="*/ 49054 w 66675"/>
                <a:gd name="connsiteY13" fmla="*/ 64294 h 66675"/>
                <a:gd name="connsiteX14" fmla="*/ 33814 w 66675"/>
                <a:gd name="connsiteY14" fmla="*/ 42386 h 66675"/>
                <a:gd name="connsiteX15" fmla="*/ 19526 w 66675"/>
                <a:gd name="connsiteY15" fmla="*/ 42386 h 66675"/>
                <a:gd name="connsiteX16" fmla="*/ 19526 w 66675"/>
                <a:gd name="connsiteY16" fmla="*/ 64294 h 66675"/>
                <a:gd name="connsiteX17" fmla="*/ 7144 w 66675"/>
                <a:gd name="connsiteY17" fmla="*/ 64294 h 66675"/>
                <a:gd name="connsiteX18" fmla="*/ 7144 w 66675"/>
                <a:gd name="connsiteY18" fmla="*/ 64294 h 66675"/>
                <a:gd name="connsiteX19" fmla="*/ 7144 w 66675"/>
                <a:gd name="connsiteY19" fmla="*/ 6429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6675" h="66675">
                  <a:moveTo>
                    <a:pt x="46196" y="25241"/>
                  </a:moveTo>
                  <a:cubicBezTo>
                    <a:pt x="46196" y="22384"/>
                    <a:pt x="44291" y="19526"/>
                    <a:pt x="41434" y="19526"/>
                  </a:cubicBezTo>
                  <a:cubicBezTo>
                    <a:pt x="20479" y="19526"/>
                    <a:pt x="20479" y="19526"/>
                    <a:pt x="20479" y="19526"/>
                  </a:cubicBezTo>
                  <a:cubicBezTo>
                    <a:pt x="20479" y="30004"/>
                    <a:pt x="20479" y="30004"/>
                    <a:pt x="20479" y="30004"/>
                  </a:cubicBezTo>
                  <a:cubicBezTo>
                    <a:pt x="41434" y="30004"/>
                    <a:pt x="41434" y="30004"/>
                    <a:pt x="41434" y="30004"/>
                  </a:cubicBezTo>
                  <a:cubicBezTo>
                    <a:pt x="43339" y="30004"/>
                    <a:pt x="46196" y="28099"/>
                    <a:pt x="46196" y="25241"/>
                  </a:cubicBezTo>
                  <a:lnTo>
                    <a:pt x="46196" y="25241"/>
                  </a:lnTo>
                  <a:close/>
                  <a:moveTo>
                    <a:pt x="7144" y="64294"/>
                  </a:moveTo>
                  <a:cubicBezTo>
                    <a:pt x="7144" y="7144"/>
                    <a:pt x="7144" y="7144"/>
                    <a:pt x="7144" y="7144"/>
                  </a:cubicBezTo>
                  <a:cubicBezTo>
                    <a:pt x="42386" y="7144"/>
                    <a:pt x="42386" y="7144"/>
                    <a:pt x="42386" y="7144"/>
                  </a:cubicBezTo>
                  <a:cubicBezTo>
                    <a:pt x="51911" y="7144"/>
                    <a:pt x="58579" y="14764"/>
                    <a:pt x="58579" y="25241"/>
                  </a:cubicBezTo>
                  <a:cubicBezTo>
                    <a:pt x="58579" y="32861"/>
                    <a:pt x="54769" y="39529"/>
                    <a:pt x="48101" y="41434"/>
                  </a:cubicBezTo>
                  <a:cubicBezTo>
                    <a:pt x="64294" y="64294"/>
                    <a:pt x="64294" y="64294"/>
                    <a:pt x="64294" y="64294"/>
                  </a:cubicBezTo>
                  <a:cubicBezTo>
                    <a:pt x="49054" y="64294"/>
                    <a:pt x="49054" y="64294"/>
                    <a:pt x="49054" y="64294"/>
                  </a:cubicBezTo>
                  <a:cubicBezTo>
                    <a:pt x="33814" y="42386"/>
                    <a:pt x="33814" y="42386"/>
                    <a:pt x="33814" y="42386"/>
                  </a:cubicBezTo>
                  <a:cubicBezTo>
                    <a:pt x="19526" y="42386"/>
                    <a:pt x="19526" y="42386"/>
                    <a:pt x="19526" y="42386"/>
                  </a:cubicBezTo>
                  <a:cubicBezTo>
                    <a:pt x="19526" y="64294"/>
                    <a:pt x="19526" y="64294"/>
                    <a:pt x="19526" y="64294"/>
                  </a:cubicBezTo>
                  <a:lnTo>
                    <a:pt x="7144" y="64294"/>
                  </a:lnTo>
                  <a:lnTo>
                    <a:pt x="7144" y="64294"/>
                  </a:lnTo>
                  <a:lnTo>
                    <a:pt x="7144" y="6429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</p:grpSp>
      <p:sp>
        <p:nvSpPr>
          <p:cNvPr id="23" name="MIO_VALID_LAYOUT" hidden="1">
            <a:extLst>
              <a:ext uri="{FF2B5EF4-FFF2-40B4-BE49-F238E27FC236}">
                <a16:creationId xmlns:a16="http://schemas.microsoft.com/office/drawing/2014/main" id="{B4A897D4-A39B-40F0-8580-73F5A5D7F8FC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</p:spTree>
    <p:extLst>
      <p:ext uri="{BB962C8B-B14F-4D97-AF65-F5344CB8AC3E}">
        <p14:creationId xmlns:p14="http://schemas.microsoft.com/office/powerpoint/2010/main" val="1185715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Image transparent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299A45BA-9F55-487F-A97C-3365E7029F2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2" y="2"/>
            <a:ext cx="9143998" cy="5143499"/>
          </a:xfrm>
          <a:custGeom>
            <a:avLst/>
            <a:gdLst>
              <a:gd name="connsiteX0" fmla="*/ 384808 w 12190411"/>
              <a:gd name="connsiteY0" fmla="*/ 934719 h 6857999"/>
              <a:gd name="connsiteX1" fmla="*/ 405763 w 12190411"/>
              <a:gd name="connsiteY1" fmla="*/ 934719 h 6857999"/>
              <a:gd name="connsiteX2" fmla="*/ 410525 w 12190411"/>
              <a:gd name="connsiteY2" fmla="*/ 940434 h 6857999"/>
              <a:gd name="connsiteX3" fmla="*/ 405763 w 12190411"/>
              <a:gd name="connsiteY3" fmla="*/ 945197 h 6857999"/>
              <a:gd name="connsiteX4" fmla="*/ 384808 w 12190411"/>
              <a:gd name="connsiteY4" fmla="*/ 945197 h 6857999"/>
              <a:gd name="connsiteX5" fmla="*/ 384808 w 12190411"/>
              <a:gd name="connsiteY5" fmla="*/ 934719 h 6857999"/>
              <a:gd name="connsiteX6" fmla="*/ 371473 w 12190411"/>
              <a:gd name="connsiteY6" fmla="*/ 922337 h 6857999"/>
              <a:gd name="connsiteX7" fmla="*/ 371473 w 12190411"/>
              <a:gd name="connsiteY7" fmla="*/ 979487 h 6857999"/>
              <a:gd name="connsiteX8" fmla="*/ 383855 w 12190411"/>
              <a:gd name="connsiteY8" fmla="*/ 979487 h 6857999"/>
              <a:gd name="connsiteX9" fmla="*/ 383855 w 12190411"/>
              <a:gd name="connsiteY9" fmla="*/ 957579 h 6857999"/>
              <a:gd name="connsiteX10" fmla="*/ 398143 w 12190411"/>
              <a:gd name="connsiteY10" fmla="*/ 957579 h 6857999"/>
              <a:gd name="connsiteX11" fmla="*/ 413383 w 12190411"/>
              <a:gd name="connsiteY11" fmla="*/ 979487 h 6857999"/>
              <a:gd name="connsiteX12" fmla="*/ 428623 w 12190411"/>
              <a:gd name="connsiteY12" fmla="*/ 979487 h 6857999"/>
              <a:gd name="connsiteX13" fmla="*/ 412430 w 12190411"/>
              <a:gd name="connsiteY13" fmla="*/ 956627 h 6857999"/>
              <a:gd name="connsiteX14" fmla="*/ 422908 w 12190411"/>
              <a:gd name="connsiteY14" fmla="*/ 940434 h 6857999"/>
              <a:gd name="connsiteX15" fmla="*/ 406715 w 12190411"/>
              <a:gd name="connsiteY15" fmla="*/ 922337 h 6857999"/>
              <a:gd name="connsiteX16" fmla="*/ 371473 w 12190411"/>
              <a:gd name="connsiteY16" fmla="*/ 922337 h 6857999"/>
              <a:gd name="connsiteX17" fmla="*/ 371473 w 12190411"/>
              <a:gd name="connsiteY17" fmla="*/ 855662 h 6857999"/>
              <a:gd name="connsiteX18" fmla="*/ 371473 w 12190411"/>
              <a:gd name="connsiteY18" fmla="*/ 912812 h 6857999"/>
              <a:gd name="connsiteX19" fmla="*/ 419098 w 12190411"/>
              <a:gd name="connsiteY19" fmla="*/ 912812 h 6857999"/>
              <a:gd name="connsiteX20" fmla="*/ 419098 w 12190411"/>
              <a:gd name="connsiteY20" fmla="*/ 901382 h 6857999"/>
              <a:gd name="connsiteX21" fmla="*/ 383855 w 12190411"/>
              <a:gd name="connsiteY21" fmla="*/ 901382 h 6857999"/>
              <a:gd name="connsiteX22" fmla="*/ 383855 w 12190411"/>
              <a:gd name="connsiteY22" fmla="*/ 888999 h 6857999"/>
              <a:gd name="connsiteX23" fmla="*/ 417193 w 12190411"/>
              <a:gd name="connsiteY23" fmla="*/ 888999 h 6857999"/>
              <a:gd name="connsiteX24" fmla="*/ 417193 w 12190411"/>
              <a:gd name="connsiteY24" fmla="*/ 877569 h 6857999"/>
              <a:gd name="connsiteX25" fmla="*/ 383855 w 12190411"/>
              <a:gd name="connsiteY25" fmla="*/ 877569 h 6857999"/>
              <a:gd name="connsiteX26" fmla="*/ 383855 w 12190411"/>
              <a:gd name="connsiteY26" fmla="*/ 867092 h 6857999"/>
              <a:gd name="connsiteX27" fmla="*/ 419098 w 12190411"/>
              <a:gd name="connsiteY27" fmla="*/ 867092 h 6857999"/>
              <a:gd name="connsiteX28" fmla="*/ 419098 w 12190411"/>
              <a:gd name="connsiteY28" fmla="*/ 855662 h 6857999"/>
              <a:gd name="connsiteX29" fmla="*/ 251459 w 12190411"/>
              <a:gd name="connsiteY29" fmla="*/ 822324 h 6857999"/>
              <a:gd name="connsiteX30" fmla="*/ 276223 w 12190411"/>
              <a:gd name="connsiteY30" fmla="*/ 822324 h 6857999"/>
              <a:gd name="connsiteX31" fmla="*/ 281939 w 12190411"/>
              <a:gd name="connsiteY31" fmla="*/ 828039 h 6857999"/>
              <a:gd name="connsiteX32" fmla="*/ 276223 w 12190411"/>
              <a:gd name="connsiteY32" fmla="*/ 833754 h 6857999"/>
              <a:gd name="connsiteX33" fmla="*/ 251459 w 12190411"/>
              <a:gd name="connsiteY33" fmla="*/ 833754 h 6857999"/>
              <a:gd name="connsiteX34" fmla="*/ 332422 w 12190411"/>
              <a:gd name="connsiteY34" fmla="*/ 802322 h 6857999"/>
              <a:gd name="connsiteX35" fmla="*/ 341947 w 12190411"/>
              <a:gd name="connsiteY35" fmla="*/ 824229 h 6857999"/>
              <a:gd name="connsiteX36" fmla="*/ 322897 w 12190411"/>
              <a:gd name="connsiteY36" fmla="*/ 824229 h 6857999"/>
              <a:gd name="connsiteX37" fmla="*/ 518159 w 12190411"/>
              <a:gd name="connsiteY37" fmla="*/ 801370 h 6857999"/>
              <a:gd name="connsiteX38" fmla="*/ 538161 w 12190411"/>
              <a:gd name="connsiteY38" fmla="*/ 801370 h 6857999"/>
              <a:gd name="connsiteX39" fmla="*/ 543876 w 12190411"/>
              <a:gd name="connsiteY39" fmla="*/ 806133 h 6857999"/>
              <a:gd name="connsiteX40" fmla="*/ 538161 w 12190411"/>
              <a:gd name="connsiteY40" fmla="*/ 811848 h 6857999"/>
              <a:gd name="connsiteX41" fmla="*/ 518159 w 12190411"/>
              <a:gd name="connsiteY41" fmla="*/ 811848 h 6857999"/>
              <a:gd name="connsiteX42" fmla="*/ 518159 w 12190411"/>
              <a:gd name="connsiteY42" fmla="*/ 801370 h 6857999"/>
              <a:gd name="connsiteX43" fmla="*/ 251459 w 12190411"/>
              <a:gd name="connsiteY43" fmla="*/ 801369 h 6857999"/>
              <a:gd name="connsiteX44" fmla="*/ 275271 w 12190411"/>
              <a:gd name="connsiteY44" fmla="*/ 801369 h 6857999"/>
              <a:gd name="connsiteX45" fmla="*/ 280034 w 12190411"/>
              <a:gd name="connsiteY45" fmla="*/ 806132 h 6857999"/>
              <a:gd name="connsiteX46" fmla="*/ 275271 w 12190411"/>
              <a:gd name="connsiteY46" fmla="*/ 810894 h 6857999"/>
              <a:gd name="connsiteX47" fmla="*/ 251459 w 12190411"/>
              <a:gd name="connsiteY47" fmla="*/ 810894 h 6857999"/>
              <a:gd name="connsiteX48" fmla="*/ 438149 w 12190411"/>
              <a:gd name="connsiteY48" fmla="*/ 788988 h 6857999"/>
              <a:gd name="connsiteX49" fmla="*/ 438149 w 12190411"/>
              <a:gd name="connsiteY49" fmla="*/ 846138 h 6857999"/>
              <a:gd name="connsiteX50" fmla="*/ 485774 w 12190411"/>
              <a:gd name="connsiteY50" fmla="*/ 846138 h 6857999"/>
              <a:gd name="connsiteX51" fmla="*/ 485774 w 12190411"/>
              <a:gd name="connsiteY51" fmla="*/ 834708 h 6857999"/>
              <a:gd name="connsiteX52" fmla="*/ 450531 w 12190411"/>
              <a:gd name="connsiteY52" fmla="*/ 834708 h 6857999"/>
              <a:gd name="connsiteX53" fmla="*/ 450531 w 12190411"/>
              <a:gd name="connsiteY53" fmla="*/ 822325 h 6857999"/>
              <a:gd name="connsiteX54" fmla="*/ 485774 w 12190411"/>
              <a:gd name="connsiteY54" fmla="*/ 822325 h 6857999"/>
              <a:gd name="connsiteX55" fmla="*/ 485774 w 12190411"/>
              <a:gd name="connsiteY55" fmla="*/ 810895 h 6857999"/>
              <a:gd name="connsiteX56" fmla="*/ 450531 w 12190411"/>
              <a:gd name="connsiteY56" fmla="*/ 810895 h 6857999"/>
              <a:gd name="connsiteX57" fmla="*/ 450531 w 12190411"/>
              <a:gd name="connsiteY57" fmla="*/ 800418 h 6857999"/>
              <a:gd name="connsiteX58" fmla="*/ 485774 w 12190411"/>
              <a:gd name="connsiteY58" fmla="*/ 800418 h 6857999"/>
              <a:gd name="connsiteX59" fmla="*/ 485774 w 12190411"/>
              <a:gd name="connsiteY59" fmla="*/ 788988 h 6857999"/>
              <a:gd name="connsiteX60" fmla="*/ 361949 w 12190411"/>
              <a:gd name="connsiteY60" fmla="*/ 788988 h 6857999"/>
              <a:gd name="connsiteX61" fmla="*/ 388619 w 12190411"/>
              <a:gd name="connsiteY61" fmla="*/ 826135 h 6857999"/>
              <a:gd name="connsiteX62" fmla="*/ 388619 w 12190411"/>
              <a:gd name="connsiteY62" fmla="*/ 846138 h 6857999"/>
              <a:gd name="connsiteX63" fmla="*/ 401954 w 12190411"/>
              <a:gd name="connsiteY63" fmla="*/ 846138 h 6857999"/>
              <a:gd name="connsiteX64" fmla="*/ 401954 w 12190411"/>
              <a:gd name="connsiteY64" fmla="*/ 826135 h 6857999"/>
              <a:gd name="connsiteX65" fmla="*/ 428624 w 12190411"/>
              <a:gd name="connsiteY65" fmla="*/ 788988 h 6857999"/>
              <a:gd name="connsiteX66" fmla="*/ 413384 w 12190411"/>
              <a:gd name="connsiteY66" fmla="*/ 788988 h 6857999"/>
              <a:gd name="connsiteX67" fmla="*/ 396239 w 12190411"/>
              <a:gd name="connsiteY67" fmla="*/ 813753 h 6857999"/>
              <a:gd name="connsiteX68" fmla="*/ 377189 w 12190411"/>
              <a:gd name="connsiteY68" fmla="*/ 788988 h 6857999"/>
              <a:gd name="connsiteX69" fmla="*/ 504824 w 12190411"/>
              <a:gd name="connsiteY69" fmla="*/ 788988 h 6857999"/>
              <a:gd name="connsiteX70" fmla="*/ 504824 w 12190411"/>
              <a:gd name="connsiteY70" fmla="*/ 846138 h 6857999"/>
              <a:gd name="connsiteX71" fmla="*/ 518159 w 12190411"/>
              <a:gd name="connsiteY71" fmla="*/ 846138 h 6857999"/>
              <a:gd name="connsiteX72" fmla="*/ 518159 w 12190411"/>
              <a:gd name="connsiteY72" fmla="*/ 824230 h 6857999"/>
              <a:gd name="connsiteX73" fmla="*/ 528636 w 12190411"/>
              <a:gd name="connsiteY73" fmla="*/ 824230 h 6857999"/>
              <a:gd name="connsiteX74" fmla="*/ 545781 w 12190411"/>
              <a:gd name="connsiteY74" fmla="*/ 846138 h 6857999"/>
              <a:gd name="connsiteX75" fmla="*/ 561974 w 12190411"/>
              <a:gd name="connsiteY75" fmla="*/ 846138 h 6857999"/>
              <a:gd name="connsiteX76" fmla="*/ 544829 w 12190411"/>
              <a:gd name="connsiteY76" fmla="*/ 824230 h 6857999"/>
              <a:gd name="connsiteX77" fmla="*/ 558164 w 12190411"/>
              <a:gd name="connsiteY77" fmla="*/ 807085 h 6857999"/>
              <a:gd name="connsiteX78" fmla="*/ 540066 w 12190411"/>
              <a:gd name="connsiteY78" fmla="*/ 788988 h 6857999"/>
              <a:gd name="connsiteX79" fmla="*/ 504824 w 12190411"/>
              <a:gd name="connsiteY79" fmla="*/ 788988 h 6857999"/>
              <a:gd name="connsiteX80" fmla="*/ 326707 w 12190411"/>
              <a:gd name="connsiteY80" fmla="*/ 788988 h 6857999"/>
              <a:gd name="connsiteX81" fmla="*/ 300037 w 12190411"/>
              <a:gd name="connsiteY81" fmla="*/ 846137 h 6857999"/>
              <a:gd name="connsiteX82" fmla="*/ 314324 w 12190411"/>
              <a:gd name="connsiteY82" fmla="*/ 846137 h 6857999"/>
              <a:gd name="connsiteX83" fmla="*/ 318134 w 12190411"/>
              <a:gd name="connsiteY83" fmla="*/ 835659 h 6857999"/>
              <a:gd name="connsiteX84" fmla="*/ 347662 w 12190411"/>
              <a:gd name="connsiteY84" fmla="*/ 835659 h 6857999"/>
              <a:gd name="connsiteX85" fmla="*/ 352424 w 12190411"/>
              <a:gd name="connsiteY85" fmla="*/ 846137 h 6857999"/>
              <a:gd name="connsiteX86" fmla="*/ 366712 w 12190411"/>
              <a:gd name="connsiteY86" fmla="*/ 846137 h 6857999"/>
              <a:gd name="connsiteX87" fmla="*/ 339089 w 12190411"/>
              <a:gd name="connsiteY87" fmla="*/ 788988 h 6857999"/>
              <a:gd name="connsiteX88" fmla="*/ 238124 w 12190411"/>
              <a:gd name="connsiteY88" fmla="*/ 788987 h 6857999"/>
              <a:gd name="connsiteX89" fmla="*/ 238124 w 12190411"/>
              <a:gd name="connsiteY89" fmla="*/ 846137 h 6857999"/>
              <a:gd name="connsiteX90" fmla="*/ 278128 w 12190411"/>
              <a:gd name="connsiteY90" fmla="*/ 846137 h 6857999"/>
              <a:gd name="connsiteX91" fmla="*/ 295274 w 12190411"/>
              <a:gd name="connsiteY91" fmla="*/ 828992 h 6857999"/>
              <a:gd name="connsiteX92" fmla="*/ 289559 w 12190411"/>
              <a:gd name="connsiteY92" fmla="*/ 816609 h 6857999"/>
              <a:gd name="connsiteX93" fmla="*/ 293368 w 12190411"/>
              <a:gd name="connsiteY93" fmla="*/ 806132 h 6857999"/>
              <a:gd name="connsiteX94" fmla="*/ 277176 w 12190411"/>
              <a:gd name="connsiteY94" fmla="*/ 788987 h 6857999"/>
              <a:gd name="connsiteX95" fmla="*/ 238124 w 12190411"/>
              <a:gd name="connsiteY95" fmla="*/ 788987 h 6857999"/>
              <a:gd name="connsiteX96" fmla="*/ 394334 w 12190411"/>
              <a:gd name="connsiteY96" fmla="*/ 735647 h 6857999"/>
              <a:gd name="connsiteX97" fmla="*/ 403859 w 12190411"/>
              <a:gd name="connsiteY97" fmla="*/ 757554 h 6857999"/>
              <a:gd name="connsiteX98" fmla="*/ 384809 w 12190411"/>
              <a:gd name="connsiteY98" fmla="*/ 757554 h 6857999"/>
              <a:gd name="connsiteX99" fmla="*/ 388619 w 12190411"/>
              <a:gd name="connsiteY99" fmla="*/ 722312 h 6857999"/>
              <a:gd name="connsiteX100" fmla="*/ 361949 w 12190411"/>
              <a:gd name="connsiteY100" fmla="*/ 779462 h 6857999"/>
              <a:gd name="connsiteX101" fmla="*/ 376236 w 12190411"/>
              <a:gd name="connsiteY101" fmla="*/ 779462 h 6857999"/>
              <a:gd name="connsiteX102" fmla="*/ 380046 w 12190411"/>
              <a:gd name="connsiteY102" fmla="*/ 768984 h 6857999"/>
              <a:gd name="connsiteX103" fmla="*/ 409574 w 12190411"/>
              <a:gd name="connsiteY103" fmla="*/ 768984 h 6857999"/>
              <a:gd name="connsiteX104" fmla="*/ 414336 w 12190411"/>
              <a:gd name="connsiteY104" fmla="*/ 779462 h 6857999"/>
              <a:gd name="connsiteX105" fmla="*/ 428624 w 12190411"/>
              <a:gd name="connsiteY105" fmla="*/ 779462 h 6857999"/>
              <a:gd name="connsiteX106" fmla="*/ 401001 w 12190411"/>
              <a:gd name="connsiteY106" fmla="*/ 722312 h 6857999"/>
              <a:gd name="connsiteX107" fmla="*/ 384810 w 12190411"/>
              <a:gd name="connsiteY107" fmla="*/ 688975 h 6857999"/>
              <a:gd name="connsiteX108" fmla="*/ 409575 w 12190411"/>
              <a:gd name="connsiteY108" fmla="*/ 688975 h 6857999"/>
              <a:gd name="connsiteX109" fmla="*/ 415290 w 12190411"/>
              <a:gd name="connsiteY109" fmla="*/ 694690 h 6857999"/>
              <a:gd name="connsiteX110" fmla="*/ 409575 w 12190411"/>
              <a:gd name="connsiteY110" fmla="*/ 700405 h 6857999"/>
              <a:gd name="connsiteX111" fmla="*/ 384810 w 12190411"/>
              <a:gd name="connsiteY111" fmla="*/ 700405 h 6857999"/>
              <a:gd name="connsiteX112" fmla="*/ 384810 w 12190411"/>
              <a:gd name="connsiteY112" fmla="*/ 668020 h 6857999"/>
              <a:gd name="connsiteX113" fmla="*/ 408622 w 12190411"/>
              <a:gd name="connsiteY113" fmla="*/ 668020 h 6857999"/>
              <a:gd name="connsiteX114" fmla="*/ 413385 w 12190411"/>
              <a:gd name="connsiteY114" fmla="*/ 672783 h 6857999"/>
              <a:gd name="connsiteX115" fmla="*/ 408622 w 12190411"/>
              <a:gd name="connsiteY115" fmla="*/ 677545 h 6857999"/>
              <a:gd name="connsiteX116" fmla="*/ 384810 w 12190411"/>
              <a:gd name="connsiteY116" fmla="*/ 677545 h 6857999"/>
              <a:gd name="connsiteX117" fmla="*/ 371475 w 12190411"/>
              <a:gd name="connsiteY117" fmla="*/ 655638 h 6857999"/>
              <a:gd name="connsiteX118" fmla="*/ 371475 w 12190411"/>
              <a:gd name="connsiteY118" fmla="*/ 712788 h 6857999"/>
              <a:gd name="connsiteX119" fmla="*/ 411480 w 12190411"/>
              <a:gd name="connsiteY119" fmla="*/ 712788 h 6857999"/>
              <a:gd name="connsiteX120" fmla="*/ 428625 w 12190411"/>
              <a:gd name="connsiteY120" fmla="*/ 695643 h 6857999"/>
              <a:gd name="connsiteX121" fmla="*/ 423862 w 12190411"/>
              <a:gd name="connsiteY121" fmla="*/ 683260 h 6857999"/>
              <a:gd name="connsiteX122" fmla="*/ 426720 w 12190411"/>
              <a:gd name="connsiteY122" fmla="*/ 672783 h 6857999"/>
              <a:gd name="connsiteX123" fmla="*/ 410527 w 12190411"/>
              <a:gd name="connsiteY123" fmla="*/ 655638 h 6857999"/>
              <a:gd name="connsiteX124" fmla="*/ 371475 w 12190411"/>
              <a:gd name="connsiteY124" fmla="*/ 655638 h 6857999"/>
              <a:gd name="connsiteX125" fmla="*/ 395906 w 12190411"/>
              <a:gd name="connsiteY125" fmla="*/ 642093 h 6857999"/>
              <a:gd name="connsiteX126" fmla="*/ 556451 w 12190411"/>
              <a:gd name="connsiteY126" fmla="*/ 723125 h 6857999"/>
              <a:gd name="connsiteX127" fmla="*/ 580894 w 12190411"/>
              <a:gd name="connsiteY127" fmla="*/ 766886 h 6857999"/>
              <a:gd name="connsiteX128" fmla="*/ 580897 w 12190411"/>
              <a:gd name="connsiteY128" fmla="*/ 766897 h 6857999"/>
              <a:gd name="connsiteX129" fmla="*/ 556803 w 12190411"/>
              <a:gd name="connsiteY129" fmla="*/ 723932 h 6857999"/>
              <a:gd name="connsiteX130" fmla="*/ 396257 w 12190411"/>
              <a:gd name="connsiteY130" fmla="*/ 642938 h 6857999"/>
              <a:gd name="connsiteX131" fmla="*/ 570519 w 12190411"/>
              <a:gd name="connsiteY131" fmla="*/ 804925 h 6857999"/>
              <a:gd name="connsiteX132" fmla="*/ 570870 w 12190411"/>
              <a:gd name="connsiteY132" fmla="*/ 817197 h 6857999"/>
              <a:gd name="connsiteX133" fmla="*/ 570519 w 12190411"/>
              <a:gd name="connsiteY133" fmla="*/ 829469 h 6857999"/>
              <a:gd name="connsiteX134" fmla="*/ 396257 w 12190411"/>
              <a:gd name="connsiteY134" fmla="*/ 991281 h 6857999"/>
              <a:gd name="connsiteX135" fmla="*/ 235711 w 12190411"/>
              <a:gd name="connsiteY135" fmla="*/ 910463 h 6857999"/>
              <a:gd name="connsiteX136" fmla="*/ 211203 w 12190411"/>
              <a:gd name="connsiteY136" fmla="*/ 866701 h 6857999"/>
              <a:gd name="connsiteX137" fmla="*/ 211136 w 12190411"/>
              <a:gd name="connsiteY137" fmla="*/ 866439 h 6857999"/>
              <a:gd name="connsiteX138" fmla="*/ 235360 w 12190411"/>
              <a:gd name="connsiteY138" fmla="*/ 909744 h 6857999"/>
              <a:gd name="connsiteX139" fmla="*/ 395906 w 12190411"/>
              <a:gd name="connsiteY139" fmla="*/ 990600 h 6857999"/>
              <a:gd name="connsiteX140" fmla="*/ 221644 w 12190411"/>
              <a:gd name="connsiteY140" fmla="*/ 828712 h 6857999"/>
              <a:gd name="connsiteX141" fmla="*/ 221292 w 12190411"/>
              <a:gd name="connsiteY141" fmla="*/ 816434 h 6857999"/>
              <a:gd name="connsiteX142" fmla="*/ 221644 w 12190411"/>
              <a:gd name="connsiteY142" fmla="*/ 804157 h 6857999"/>
              <a:gd name="connsiteX143" fmla="*/ 395906 w 12190411"/>
              <a:gd name="connsiteY143" fmla="*/ 642093 h 6857999"/>
              <a:gd name="connsiteX144" fmla="*/ 395906 w 12190411"/>
              <a:gd name="connsiteY144" fmla="*/ 617538 h 6857999"/>
              <a:gd name="connsiteX145" fmla="*/ 196850 w 12190411"/>
              <a:gd name="connsiteY145" fmla="*/ 804157 h 6857999"/>
              <a:gd name="connsiteX146" fmla="*/ 197141 w 12190411"/>
              <a:gd name="connsiteY146" fmla="*/ 807054 h 6857999"/>
              <a:gd name="connsiteX147" fmla="*/ 196850 w 12190411"/>
              <a:gd name="connsiteY147" fmla="*/ 817197 h 6857999"/>
              <a:gd name="connsiteX148" fmla="*/ 197202 w 12190411"/>
              <a:gd name="connsiteY148" fmla="*/ 829469 h 6857999"/>
              <a:gd name="connsiteX149" fmla="*/ 396257 w 12190411"/>
              <a:gd name="connsiteY149" fmla="*/ 1016000 h 6857999"/>
              <a:gd name="connsiteX150" fmla="*/ 595313 w 12190411"/>
              <a:gd name="connsiteY150" fmla="*/ 829469 h 6857999"/>
              <a:gd name="connsiteX151" fmla="*/ 595023 w 12190411"/>
              <a:gd name="connsiteY151" fmla="*/ 826543 h 6857999"/>
              <a:gd name="connsiteX152" fmla="*/ 595313 w 12190411"/>
              <a:gd name="connsiteY152" fmla="*/ 816434 h 6857999"/>
              <a:gd name="connsiteX153" fmla="*/ 594961 w 12190411"/>
              <a:gd name="connsiteY153" fmla="*/ 804157 h 6857999"/>
              <a:gd name="connsiteX154" fmla="*/ 395906 w 12190411"/>
              <a:gd name="connsiteY154" fmla="*/ 617538 h 6857999"/>
              <a:gd name="connsiteX155" fmla="*/ 6285641 w 12190411"/>
              <a:gd name="connsiteY155" fmla="*/ 0 h 6857999"/>
              <a:gd name="connsiteX156" fmla="*/ 12190411 w 12190411"/>
              <a:gd name="connsiteY156" fmla="*/ 0 h 6857999"/>
              <a:gd name="connsiteX157" fmla="*/ 12190411 w 12190411"/>
              <a:gd name="connsiteY157" fmla="*/ 6005393 h 6857999"/>
              <a:gd name="connsiteX158" fmla="*/ 9456588 w 12190411"/>
              <a:gd name="connsiteY158" fmla="*/ 6488000 h 6857999"/>
              <a:gd name="connsiteX159" fmla="*/ 9456594 w 12190411"/>
              <a:gd name="connsiteY159" fmla="*/ 6487971 h 6857999"/>
              <a:gd name="connsiteX160" fmla="*/ 7360503 w 12190411"/>
              <a:gd name="connsiteY160" fmla="*/ 6857999 h 6857999"/>
              <a:gd name="connsiteX161" fmla="*/ 3780054 w 12190411"/>
              <a:gd name="connsiteY161" fmla="*/ 6857999 h 6857999"/>
              <a:gd name="connsiteX162" fmla="*/ 0 w 12190411"/>
              <a:gd name="connsiteY162" fmla="*/ 0 h 6857999"/>
              <a:gd name="connsiteX163" fmla="*/ 6266477 w 12190411"/>
              <a:gd name="connsiteY163" fmla="*/ 0 h 6857999"/>
              <a:gd name="connsiteX164" fmla="*/ 3760890 w 12190411"/>
              <a:gd name="connsiteY164" fmla="*/ 6857999 h 6857999"/>
              <a:gd name="connsiteX165" fmla="*/ 0 w 12190411"/>
              <a:gd name="connsiteY165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12190411" h="6857999">
                <a:moveTo>
                  <a:pt x="384808" y="934719"/>
                </a:moveTo>
                <a:cubicBezTo>
                  <a:pt x="384808" y="934719"/>
                  <a:pt x="384808" y="934719"/>
                  <a:pt x="405763" y="934719"/>
                </a:cubicBezTo>
                <a:cubicBezTo>
                  <a:pt x="408620" y="934719"/>
                  <a:pt x="410525" y="937577"/>
                  <a:pt x="410525" y="940434"/>
                </a:cubicBezTo>
                <a:cubicBezTo>
                  <a:pt x="410525" y="943292"/>
                  <a:pt x="407668" y="945197"/>
                  <a:pt x="405763" y="945197"/>
                </a:cubicBezTo>
                <a:cubicBezTo>
                  <a:pt x="405763" y="945197"/>
                  <a:pt x="405763" y="945197"/>
                  <a:pt x="384808" y="945197"/>
                </a:cubicBezTo>
                <a:cubicBezTo>
                  <a:pt x="384808" y="945197"/>
                  <a:pt x="384808" y="945197"/>
                  <a:pt x="384808" y="934719"/>
                </a:cubicBezTo>
                <a:close/>
                <a:moveTo>
                  <a:pt x="371473" y="922337"/>
                </a:moveTo>
                <a:cubicBezTo>
                  <a:pt x="371473" y="922337"/>
                  <a:pt x="371473" y="922337"/>
                  <a:pt x="371473" y="979487"/>
                </a:cubicBezTo>
                <a:lnTo>
                  <a:pt x="383855" y="979487"/>
                </a:lnTo>
                <a:cubicBezTo>
                  <a:pt x="383855" y="979487"/>
                  <a:pt x="383855" y="979487"/>
                  <a:pt x="383855" y="957579"/>
                </a:cubicBezTo>
                <a:cubicBezTo>
                  <a:pt x="383855" y="957579"/>
                  <a:pt x="383855" y="957579"/>
                  <a:pt x="398143" y="957579"/>
                </a:cubicBezTo>
                <a:cubicBezTo>
                  <a:pt x="398143" y="957579"/>
                  <a:pt x="398143" y="957579"/>
                  <a:pt x="413383" y="979487"/>
                </a:cubicBezTo>
                <a:cubicBezTo>
                  <a:pt x="413383" y="979487"/>
                  <a:pt x="413383" y="979487"/>
                  <a:pt x="428623" y="979487"/>
                </a:cubicBezTo>
                <a:cubicBezTo>
                  <a:pt x="428623" y="979487"/>
                  <a:pt x="428623" y="979487"/>
                  <a:pt x="412430" y="956627"/>
                </a:cubicBezTo>
                <a:cubicBezTo>
                  <a:pt x="419098" y="954722"/>
                  <a:pt x="422908" y="948054"/>
                  <a:pt x="422908" y="940434"/>
                </a:cubicBezTo>
                <a:cubicBezTo>
                  <a:pt x="422908" y="929957"/>
                  <a:pt x="416240" y="922337"/>
                  <a:pt x="406715" y="922337"/>
                </a:cubicBezTo>
                <a:cubicBezTo>
                  <a:pt x="406715" y="922337"/>
                  <a:pt x="406715" y="922337"/>
                  <a:pt x="371473" y="922337"/>
                </a:cubicBezTo>
                <a:close/>
                <a:moveTo>
                  <a:pt x="371473" y="855662"/>
                </a:moveTo>
                <a:lnTo>
                  <a:pt x="371473" y="912812"/>
                </a:lnTo>
                <a:lnTo>
                  <a:pt x="419098" y="912812"/>
                </a:lnTo>
                <a:lnTo>
                  <a:pt x="419098" y="901382"/>
                </a:lnTo>
                <a:lnTo>
                  <a:pt x="383855" y="901382"/>
                </a:lnTo>
                <a:lnTo>
                  <a:pt x="383855" y="888999"/>
                </a:lnTo>
                <a:lnTo>
                  <a:pt x="417193" y="888999"/>
                </a:lnTo>
                <a:lnTo>
                  <a:pt x="417193" y="877569"/>
                </a:lnTo>
                <a:lnTo>
                  <a:pt x="383855" y="877569"/>
                </a:lnTo>
                <a:lnTo>
                  <a:pt x="383855" y="867092"/>
                </a:lnTo>
                <a:lnTo>
                  <a:pt x="419098" y="867092"/>
                </a:lnTo>
                <a:lnTo>
                  <a:pt x="419098" y="855662"/>
                </a:lnTo>
                <a:close/>
                <a:moveTo>
                  <a:pt x="251459" y="822324"/>
                </a:moveTo>
                <a:cubicBezTo>
                  <a:pt x="251459" y="822324"/>
                  <a:pt x="251459" y="822324"/>
                  <a:pt x="276223" y="822324"/>
                </a:cubicBezTo>
                <a:cubicBezTo>
                  <a:pt x="279081" y="822324"/>
                  <a:pt x="281939" y="825182"/>
                  <a:pt x="281939" y="828039"/>
                </a:cubicBezTo>
                <a:cubicBezTo>
                  <a:pt x="281939" y="830897"/>
                  <a:pt x="279081" y="833754"/>
                  <a:pt x="276223" y="833754"/>
                </a:cubicBezTo>
                <a:cubicBezTo>
                  <a:pt x="276223" y="833754"/>
                  <a:pt x="276223" y="833754"/>
                  <a:pt x="251459" y="833754"/>
                </a:cubicBezTo>
                <a:close/>
                <a:moveTo>
                  <a:pt x="332422" y="802322"/>
                </a:moveTo>
                <a:lnTo>
                  <a:pt x="341947" y="824229"/>
                </a:lnTo>
                <a:lnTo>
                  <a:pt x="322897" y="824229"/>
                </a:lnTo>
                <a:close/>
                <a:moveTo>
                  <a:pt x="518159" y="801370"/>
                </a:moveTo>
                <a:cubicBezTo>
                  <a:pt x="518159" y="801370"/>
                  <a:pt x="518159" y="801370"/>
                  <a:pt x="538161" y="801370"/>
                </a:cubicBezTo>
                <a:cubicBezTo>
                  <a:pt x="541971" y="801370"/>
                  <a:pt x="543876" y="803275"/>
                  <a:pt x="543876" y="806133"/>
                </a:cubicBezTo>
                <a:cubicBezTo>
                  <a:pt x="543876" y="808990"/>
                  <a:pt x="541019" y="811848"/>
                  <a:pt x="538161" y="811848"/>
                </a:cubicBezTo>
                <a:cubicBezTo>
                  <a:pt x="538161" y="811848"/>
                  <a:pt x="538161" y="811848"/>
                  <a:pt x="518159" y="811848"/>
                </a:cubicBezTo>
                <a:cubicBezTo>
                  <a:pt x="518159" y="811848"/>
                  <a:pt x="518159" y="811848"/>
                  <a:pt x="518159" y="801370"/>
                </a:cubicBezTo>
                <a:close/>
                <a:moveTo>
                  <a:pt x="251459" y="801369"/>
                </a:moveTo>
                <a:cubicBezTo>
                  <a:pt x="251459" y="801369"/>
                  <a:pt x="251459" y="801369"/>
                  <a:pt x="275271" y="801369"/>
                </a:cubicBezTo>
                <a:cubicBezTo>
                  <a:pt x="278128" y="801369"/>
                  <a:pt x="280034" y="803274"/>
                  <a:pt x="280034" y="806132"/>
                </a:cubicBezTo>
                <a:cubicBezTo>
                  <a:pt x="280034" y="808989"/>
                  <a:pt x="278128" y="810894"/>
                  <a:pt x="275271" y="810894"/>
                </a:cubicBezTo>
                <a:cubicBezTo>
                  <a:pt x="275271" y="810894"/>
                  <a:pt x="275271" y="810894"/>
                  <a:pt x="251459" y="810894"/>
                </a:cubicBezTo>
                <a:close/>
                <a:moveTo>
                  <a:pt x="438149" y="788988"/>
                </a:moveTo>
                <a:lnTo>
                  <a:pt x="438149" y="846138"/>
                </a:lnTo>
                <a:lnTo>
                  <a:pt x="485774" y="846138"/>
                </a:lnTo>
                <a:lnTo>
                  <a:pt x="485774" y="834708"/>
                </a:lnTo>
                <a:lnTo>
                  <a:pt x="450531" y="834708"/>
                </a:lnTo>
                <a:lnTo>
                  <a:pt x="450531" y="822325"/>
                </a:lnTo>
                <a:lnTo>
                  <a:pt x="485774" y="822325"/>
                </a:lnTo>
                <a:lnTo>
                  <a:pt x="485774" y="810895"/>
                </a:lnTo>
                <a:lnTo>
                  <a:pt x="450531" y="810895"/>
                </a:lnTo>
                <a:lnTo>
                  <a:pt x="450531" y="800418"/>
                </a:lnTo>
                <a:lnTo>
                  <a:pt x="485774" y="800418"/>
                </a:lnTo>
                <a:lnTo>
                  <a:pt x="485774" y="788988"/>
                </a:lnTo>
                <a:close/>
                <a:moveTo>
                  <a:pt x="361949" y="788988"/>
                </a:moveTo>
                <a:lnTo>
                  <a:pt x="388619" y="826135"/>
                </a:lnTo>
                <a:lnTo>
                  <a:pt x="388619" y="846138"/>
                </a:lnTo>
                <a:lnTo>
                  <a:pt x="401954" y="846138"/>
                </a:lnTo>
                <a:lnTo>
                  <a:pt x="401954" y="826135"/>
                </a:lnTo>
                <a:lnTo>
                  <a:pt x="428624" y="788988"/>
                </a:lnTo>
                <a:lnTo>
                  <a:pt x="413384" y="788988"/>
                </a:lnTo>
                <a:lnTo>
                  <a:pt x="396239" y="813753"/>
                </a:lnTo>
                <a:lnTo>
                  <a:pt x="377189" y="788988"/>
                </a:lnTo>
                <a:close/>
                <a:moveTo>
                  <a:pt x="504824" y="788988"/>
                </a:moveTo>
                <a:cubicBezTo>
                  <a:pt x="504824" y="788988"/>
                  <a:pt x="504824" y="788988"/>
                  <a:pt x="504824" y="846138"/>
                </a:cubicBezTo>
                <a:cubicBezTo>
                  <a:pt x="504824" y="846138"/>
                  <a:pt x="504824" y="846138"/>
                  <a:pt x="518159" y="846138"/>
                </a:cubicBezTo>
                <a:cubicBezTo>
                  <a:pt x="518159" y="846138"/>
                  <a:pt x="518159" y="846138"/>
                  <a:pt x="518159" y="824230"/>
                </a:cubicBezTo>
                <a:cubicBezTo>
                  <a:pt x="518159" y="824230"/>
                  <a:pt x="518159" y="824230"/>
                  <a:pt x="528636" y="824230"/>
                </a:cubicBezTo>
                <a:lnTo>
                  <a:pt x="545781" y="846138"/>
                </a:lnTo>
                <a:cubicBezTo>
                  <a:pt x="545781" y="846138"/>
                  <a:pt x="545781" y="846138"/>
                  <a:pt x="561974" y="846138"/>
                </a:cubicBezTo>
                <a:cubicBezTo>
                  <a:pt x="561974" y="846138"/>
                  <a:pt x="561974" y="846138"/>
                  <a:pt x="544829" y="824230"/>
                </a:cubicBezTo>
                <a:cubicBezTo>
                  <a:pt x="552449" y="821373"/>
                  <a:pt x="558164" y="814705"/>
                  <a:pt x="558164" y="807085"/>
                </a:cubicBezTo>
                <a:cubicBezTo>
                  <a:pt x="558164" y="796608"/>
                  <a:pt x="549591" y="788988"/>
                  <a:pt x="540066" y="788988"/>
                </a:cubicBezTo>
                <a:cubicBezTo>
                  <a:pt x="540066" y="788988"/>
                  <a:pt x="540066" y="788988"/>
                  <a:pt x="504824" y="788988"/>
                </a:cubicBezTo>
                <a:close/>
                <a:moveTo>
                  <a:pt x="326707" y="788988"/>
                </a:moveTo>
                <a:lnTo>
                  <a:pt x="300037" y="846137"/>
                </a:lnTo>
                <a:lnTo>
                  <a:pt x="314324" y="846137"/>
                </a:lnTo>
                <a:lnTo>
                  <a:pt x="318134" y="835659"/>
                </a:lnTo>
                <a:lnTo>
                  <a:pt x="347662" y="835659"/>
                </a:lnTo>
                <a:lnTo>
                  <a:pt x="352424" y="846137"/>
                </a:lnTo>
                <a:lnTo>
                  <a:pt x="366712" y="846137"/>
                </a:lnTo>
                <a:lnTo>
                  <a:pt x="339089" y="788988"/>
                </a:lnTo>
                <a:close/>
                <a:moveTo>
                  <a:pt x="238124" y="788987"/>
                </a:moveTo>
                <a:cubicBezTo>
                  <a:pt x="238124" y="788987"/>
                  <a:pt x="238124" y="788987"/>
                  <a:pt x="238124" y="846137"/>
                </a:cubicBezTo>
                <a:cubicBezTo>
                  <a:pt x="238124" y="846137"/>
                  <a:pt x="238124" y="846137"/>
                  <a:pt x="278128" y="846137"/>
                </a:cubicBezTo>
                <a:cubicBezTo>
                  <a:pt x="287654" y="846137"/>
                  <a:pt x="295274" y="838517"/>
                  <a:pt x="295274" y="828992"/>
                </a:cubicBezTo>
                <a:cubicBezTo>
                  <a:pt x="295274" y="824229"/>
                  <a:pt x="293368" y="819467"/>
                  <a:pt x="289559" y="816609"/>
                </a:cubicBezTo>
                <a:cubicBezTo>
                  <a:pt x="292416" y="813752"/>
                  <a:pt x="294321" y="809942"/>
                  <a:pt x="293368" y="806132"/>
                </a:cubicBezTo>
                <a:cubicBezTo>
                  <a:pt x="293368" y="796607"/>
                  <a:pt x="286701" y="788987"/>
                  <a:pt x="277176" y="788987"/>
                </a:cubicBezTo>
                <a:cubicBezTo>
                  <a:pt x="277176" y="788987"/>
                  <a:pt x="277176" y="788987"/>
                  <a:pt x="238124" y="788987"/>
                </a:cubicBezTo>
                <a:close/>
                <a:moveTo>
                  <a:pt x="394334" y="735647"/>
                </a:moveTo>
                <a:lnTo>
                  <a:pt x="403859" y="757554"/>
                </a:lnTo>
                <a:lnTo>
                  <a:pt x="384809" y="757554"/>
                </a:lnTo>
                <a:close/>
                <a:moveTo>
                  <a:pt x="388619" y="722312"/>
                </a:moveTo>
                <a:lnTo>
                  <a:pt x="361949" y="779462"/>
                </a:lnTo>
                <a:lnTo>
                  <a:pt x="376236" y="779462"/>
                </a:lnTo>
                <a:lnTo>
                  <a:pt x="380046" y="768984"/>
                </a:lnTo>
                <a:lnTo>
                  <a:pt x="409574" y="768984"/>
                </a:lnTo>
                <a:lnTo>
                  <a:pt x="414336" y="779462"/>
                </a:lnTo>
                <a:lnTo>
                  <a:pt x="428624" y="779462"/>
                </a:lnTo>
                <a:lnTo>
                  <a:pt x="401001" y="722312"/>
                </a:lnTo>
                <a:close/>
                <a:moveTo>
                  <a:pt x="384810" y="688975"/>
                </a:moveTo>
                <a:cubicBezTo>
                  <a:pt x="384810" y="688975"/>
                  <a:pt x="384810" y="688975"/>
                  <a:pt x="409575" y="688975"/>
                </a:cubicBezTo>
                <a:cubicBezTo>
                  <a:pt x="413385" y="688975"/>
                  <a:pt x="415290" y="691833"/>
                  <a:pt x="415290" y="694690"/>
                </a:cubicBezTo>
                <a:cubicBezTo>
                  <a:pt x="415290" y="697548"/>
                  <a:pt x="412432" y="700405"/>
                  <a:pt x="409575" y="700405"/>
                </a:cubicBezTo>
                <a:cubicBezTo>
                  <a:pt x="409575" y="700405"/>
                  <a:pt x="409575" y="700405"/>
                  <a:pt x="384810" y="700405"/>
                </a:cubicBezTo>
                <a:close/>
                <a:moveTo>
                  <a:pt x="384810" y="668020"/>
                </a:moveTo>
                <a:cubicBezTo>
                  <a:pt x="384810" y="668020"/>
                  <a:pt x="384810" y="668020"/>
                  <a:pt x="408622" y="668020"/>
                </a:cubicBezTo>
                <a:cubicBezTo>
                  <a:pt x="411480" y="668020"/>
                  <a:pt x="413385" y="669925"/>
                  <a:pt x="413385" y="672783"/>
                </a:cubicBezTo>
                <a:cubicBezTo>
                  <a:pt x="413385" y="675640"/>
                  <a:pt x="411480" y="677545"/>
                  <a:pt x="408622" y="677545"/>
                </a:cubicBezTo>
                <a:cubicBezTo>
                  <a:pt x="408622" y="677545"/>
                  <a:pt x="408622" y="677545"/>
                  <a:pt x="384810" y="677545"/>
                </a:cubicBezTo>
                <a:close/>
                <a:moveTo>
                  <a:pt x="371475" y="655638"/>
                </a:moveTo>
                <a:cubicBezTo>
                  <a:pt x="371475" y="655638"/>
                  <a:pt x="371475" y="655638"/>
                  <a:pt x="371475" y="712788"/>
                </a:cubicBezTo>
                <a:cubicBezTo>
                  <a:pt x="371475" y="712788"/>
                  <a:pt x="371475" y="712788"/>
                  <a:pt x="411480" y="712788"/>
                </a:cubicBezTo>
                <a:cubicBezTo>
                  <a:pt x="421005" y="712788"/>
                  <a:pt x="428625" y="705168"/>
                  <a:pt x="428625" y="695643"/>
                </a:cubicBezTo>
                <a:cubicBezTo>
                  <a:pt x="428625" y="690880"/>
                  <a:pt x="426720" y="686118"/>
                  <a:pt x="423862" y="683260"/>
                </a:cubicBezTo>
                <a:cubicBezTo>
                  <a:pt x="425767" y="680403"/>
                  <a:pt x="427672" y="676593"/>
                  <a:pt x="426720" y="672783"/>
                </a:cubicBezTo>
                <a:cubicBezTo>
                  <a:pt x="426720" y="663258"/>
                  <a:pt x="420052" y="655638"/>
                  <a:pt x="410527" y="655638"/>
                </a:cubicBezTo>
                <a:cubicBezTo>
                  <a:pt x="410527" y="655638"/>
                  <a:pt x="410527" y="655638"/>
                  <a:pt x="371475" y="655638"/>
                </a:cubicBezTo>
                <a:close/>
                <a:moveTo>
                  <a:pt x="395906" y="642093"/>
                </a:moveTo>
                <a:cubicBezTo>
                  <a:pt x="461671" y="642093"/>
                  <a:pt x="520052" y="674015"/>
                  <a:pt x="556451" y="723125"/>
                </a:cubicBezTo>
                <a:cubicBezTo>
                  <a:pt x="566299" y="736543"/>
                  <a:pt x="574563" y="751232"/>
                  <a:pt x="580894" y="766886"/>
                </a:cubicBezTo>
                <a:lnTo>
                  <a:pt x="580897" y="766897"/>
                </a:lnTo>
                <a:lnTo>
                  <a:pt x="556803" y="723932"/>
                </a:lnTo>
                <a:cubicBezTo>
                  <a:pt x="520403" y="674845"/>
                  <a:pt x="462023" y="642938"/>
                  <a:pt x="396257" y="642938"/>
                </a:cubicBezTo>
                <a:cubicBezTo>
                  <a:pt x="488399" y="642938"/>
                  <a:pt x="564188" y="714465"/>
                  <a:pt x="570519" y="804925"/>
                </a:cubicBezTo>
                <a:cubicBezTo>
                  <a:pt x="570695" y="808958"/>
                  <a:pt x="570870" y="812990"/>
                  <a:pt x="570870" y="817197"/>
                </a:cubicBezTo>
                <a:cubicBezTo>
                  <a:pt x="570870" y="821229"/>
                  <a:pt x="570695" y="825437"/>
                  <a:pt x="570519" y="829469"/>
                </a:cubicBezTo>
                <a:cubicBezTo>
                  <a:pt x="564188" y="919754"/>
                  <a:pt x="488399" y="991281"/>
                  <a:pt x="396257" y="991281"/>
                </a:cubicBezTo>
                <a:cubicBezTo>
                  <a:pt x="330316" y="991281"/>
                  <a:pt x="271935" y="959550"/>
                  <a:pt x="235711" y="910463"/>
                </a:cubicBezTo>
                <a:cubicBezTo>
                  <a:pt x="225776" y="897051"/>
                  <a:pt x="217512" y="882369"/>
                  <a:pt x="211203" y="866701"/>
                </a:cubicBezTo>
                <a:lnTo>
                  <a:pt x="211136" y="866439"/>
                </a:lnTo>
                <a:lnTo>
                  <a:pt x="235360" y="909744"/>
                </a:lnTo>
                <a:cubicBezTo>
                  <a:pt x="271760" y="958854"/>
                  <a:pt x="329964" y="990600"/>
                  <a:pt x="395906" y="990600"/>
                </a:cubicBezTo>
                <a:cubicBezTo>
                  <a:pt x="303763" y="990600"/>
                  <a:pt x="227974" y="919039"/>
                  <a:pt x="221644" y="828712"/>
                </a:cubicBezTo>
                <a:cubicBezTo>
                  <a:pt x="221292" y="824678"/>
                  <a:pt x="221292" y="820468"/>
                  <a:pt x="221292" y="816434"/>
                </a:cubicBezTo>
                <a:cubicBezTo>
                  <a:pt x="221292" y="812225"/>
                  <a:pt x="221292" y="808191"/>
                  <a:pt x="221644" y="804157"/>
                </a:cubicBezTo>
                <a:cubicBezTo>
                  <a:pt x="227974" y="713654"/>
                  <a:pt x="303763" y="642093"/>
                  <a:pt x="395906" y="642093"/>
                </a:cubicBezTo>
                <a:close/>
                <a:moveTo>
                  <a:pt x="395906" y="617538"/>
                </a:moveTo>
                <a:cubicBezTo>
                  <a:pt x="289872" y="617538"/>
                  <a:pt x="203356" y="699973"/>
                  <a:pt x="196850" y="804157"/>
                </a:cubicBezTo>
                <a:lnTo>
                  <a:pt x="197141" y="807054"/>
                </a:lnTo>
                <a:lnTo>
                  <a:pt x="196850" y="817197"/>
                </a:lnTo>
                <a:cubicBezTo>
                  <a:pt x="196850" y="821229"/>
                  <a:pt x="197026" y="825437"/>
                  <a:pt x="197202" y="829469"/>
                </a:cubicBezTo>
                <a:cubicBezTo>
                  <a:pt x="203708" y="933604"/>
                  <a:pt x="290223" y="1016000"/>
                  <a:pt x="396257" y="1016000"/>
                </a:cubicBezTo>
                <a:cubicBezTo>
                  <a:pt x="502291" y="1016000"/>
                  <a:pt x="588806" y="933604"/>
                  <a:pt x="595313" y="829469"/>
                </a:cubicBezTo>
                <a:lnTo>
                  <a:pt x="595023" y="826543"/>
                </a:lnTo>
                <a:lnTo>
                  <a:pt x="595313" y="816434"/>
                </a:lnTo>
                <a:cubicBezTo>
                  <a:pt x="595313" y="812225"/>
                  <a:pt x="595137" y="808191"/>
                  <a:pt x="594961" y="804157"/>
                </a:cubicBezTo>
                <a:cubicBezTo>
                  <a:pt x="588455" y="699973"/>
                  <a:pt x="501940" y="617538"/>
                  <a:pt x="395906" y="617538"/>
                </a:cubicBezTo>
                <a:close/>
                <a:moveTo>
                  <a:pt x="6285641" y="0"/>
                </a:moveTo>
                <a:lnTo>
                  <a:pt x="12190411" y="0"/>
                </a:lnTo>
                <a:lnTo>
                  <a:pt x="12190411" y="6005393"/>
                </a:lnTo>
                <a:lnTo>
                  <a:pt x="9456588" y="6488000"/>
                </a:lnTo>
                <a:lnTo>
                  <a:pt x="9456594" y="6487971"/>
                </a:lnTo>
                <a:lnTo>
                  <a:pt x="7360503" y="6857999"/>
                </a:lnTo>
                <a:lnTo>
                  <a:pt x="3780054" y="6857999"/>
                </a:lnTo>
                <a:close/>
                <a:moveTo>
                  <a:pt x="0" y="0"/>
                </a:moveTo>
                <a:lnTo>
                  <a:pt x="6266477" y="0"/>
                </a:lnTo>
                <a:lnTo>
                  <a:pt x="3760890" y="6857999"/>
                </a:lnTo>
                <a:lnTo>
                  <a:pt x="0" y="6857999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406D9B9-4C34-49DD-855E-0713BD3AF14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2" y="-7142"/>
            <a:ext cx="4543369" cy="5157787"/>
          </a:xfrm>
          <a:custGeom>
            <a:avLst/>
            <a:gdLst>
              <a:gd name="connsiteX0" fmla="*/ 5798642 w 6057037"/>
              <a:gd name="connsiteY0" fmla="*/ 1332612 h 6877049"/>
              <a:gd name="connsiteX1" fmla="*/ 4723899 w 6057037"/>
              <a:gd name="connsiteY1" fmla="*/ 6875332 h 6877049"/>
              <a:gd name="connsiteX2" fmla="*/ 4723899 w 6057037"/>
              <a:gd name="connsiteY2" fmla="*/ 6877049 h 6877049"/>
              <a:gd name="connsiteX3" fmla="*/ 3772669 w 6057037"/>
              <a:gd name="connsiteY3" fmla="*/ 6877049 h 6877049"/>
              <a:gd name="connsiteX4" fmla="*/ 384809 w 6057037"/>
              <a:gd name="connsiteY4" fmla="*/ 944244 h 6877049"/>
              <a:gd name="connsiteX5" fmla="*/ 405764 w 6057037"/>
              <a:gd name="connsiteY5" fmla="*/ 944244 h 6877049"/>
              <a:gd name="connsiteX6" fmla="*/ 410526 w 6057037"/>
              <a:gd name="connsiteY6" fmla="*/ 949959 h 6877049"/>
              <a:gd name="connsiteX7" fmla="*/ 405764 w 6057037"/>
              <a:gd name="connsiteY7" fmla="*/ 954722 h 6877049"/>
              <a:gd name="connsiteX8" fmla="*/ 384809 w 6057037"/>
              <a:gd name="connsiteY8" fmla="*/ 954722 h 6877049"/>
              <a:gd name="connsiteX9" fmla="*/ 384809 w 6057037"/>
              <a:gd name="connsiteY9" fmla="*/ 944244 h 6877049"/>
              <a:gd name="connsiteX10" fmla="*/ 371474 w 6057037"/>
              <a:gd name="connsiteY10" fmla="*/ 931862 h 6877049"/>
              <a:gd name="connsiteX11" fmla="*/ 371474 w 6057037"/>
              <a:gd name="connsiteY11" fmla="*/ 989012 h 6877049"/>
              <a:gd name="connsiteX12" fmla="*/ 383856 w 6057037"/>
              <a:gd name="connsiteY12" fmla="*/ 989012 h 6877049"/>
              <a:gd name="connsiteX13" fmla="*/ 383856 w 6057037"/>
              <a:gd name="connsiteY13" fmla="*/ 967104 h 6877049"/>
              <a:gd name="connsiteX14" fmla="*/ 398144 w 6057037"/>
              <a:gd name="connsiteY14" fmla="*/ 967104 h 6877049"/>
              <a:gd name="connsiteX15" fmla="*/ 413384 w 6057037"/>
              <a:gd name="connsiteY15" fmla="*/ 989012 h 6877049"/>
              <a:gd name="connsiteX16" fmla="*/ 428624 w 6057037"/>
              <a:gd name="connsiteY16" fmla="*/ 989012 h 6877049"/>
              <a:gd name="connsiteX17" fmla="*/ 412431 w 6057037"/>
              <a:gd name="connsiteY17" fmla="*/ 966152 h 6877049"/>
              <a:gd name="connsiteX18" fmla="*/ 422909 w 6057037"/>
              <a:gd name="connsiteY18" fmla="*/ 949959 h 6877049"/>
              <a:gd name="connsiteX19" fmla="*/ 406716 w 6057037"/>
              <a:gd name="connsiteY19" fmla="*/ 931862 h 6877049"/>
              <a:gd name="connsiteX20" fmla="*/ 371474 w 6057037"/>
              <a:gd name="connsiteY20" fmla="*/ 931862 h 6877049"/>
              <a:gd name="connsiteX21" fmla="*/ 371474 w 6057037"/>
              <a:gd name="connsiteY21" fmla="*/ 865187 h 6877049"/>
              <a:gd name="connsiteX22" fmla="*/ 371474 w 6057037"/>
              <a:gd name="connsiteY22" fmla="*/ 922337 h 6877049"/>
              <a:gd name="connsiteX23" fmla="*/ 419099 w 6057037"/>
              <a:gd name="connsiteY23" fmla="*/ 922337 h 6877049"/>
              <a:gd name="connsiteX24" fmla="*/ 419099 w 6057037"/>
              <a:gd name="connsiteY24" fmla="*/ 910907 h 6877049"/>
              <a:gd name="connsiteX25" fmla="*/ 383856 w 6057037"/>
              <a:gd name="connsiteY25" fmla="*/ 910907 h 6877049"/>
              <a:gd name="connsiteX26" fmla="*/ 383856 w 6057037"/>
              <a:gd name="connsiteY26" fmla="*/ 898524 h 6877049"/>
              <a:gd name="connsiteX27" fmla="*/ 417194 w 6057037"/>
              <a:gd name="connsiteY27" fmla="*/ 898524 h 6877049"/>
              <a:gd name="connsiteX28" fmla="*/ 417194 w 6057037"/>
              <a:gd name="connsiteY28" fmla="*/ 887094 h 6877049"/>
              <a:gd name="connsiteX29" fmla="*/ 383856 w 6057037"/>
              <a:gd name="connsiteY29" fmla="*/ 887094 h 6877049"/>
              <a:gd name="connsiteX30" fmla="*/ 383856 w 6057037"/>
              <a:gd name="connsiteY30" fmla="*/ 876617 h 6877049"/>
              <a:gd name="connsiteX31" fmla="*/ 419099 w 6057037"/>
              <a:gd name="connsiteY31" fmla="*/ 876617 h 6877049"/>
              <a:gd name="connsiteX32" fmla="*/ 419099 w 6057037"/>
              <a:gd name="connsiteY32" fmla="*/ 865187 h 6877049"/>
              <a:gd name="connsiteX33" fmla="*/ 251459 w 6057037"/>
              <a:gd name="connsiteY33" fmla="*/ 831849 h 6877049"/>
              <a:gd name="connsiteX34" fmla="*/ 276224 w 6057037"/>
              <a:gd name="connsiteY34" fmla="*/ 831849 h 6877049"/>
              <a:gd name="connsiteX35" fmla="*/ 281939 w 6057037"/>
              <a:gd name="connsiteY35" fmla="*/ 837564 h 6877049"/>
              <a:gd name="connsiteX36" fmla="*/ 276224 w 6057037"/>
              <a:gd name="connsiteY36" fmla="*/ 843279 h 6877049"/>
              <a:gd name="connsiteX37" fmla="*/ 251459 w 6057037"/>
              <a:gd name="connsiteY37" fmla="*/ 843279 h 6877049"/>
              <a:gd name="connsiteX38" fmla="*/ 332422 w 6057037"/>
              <a:gd name="connsiteY38" fmla="*/ 811847 h 6877049"/>
              <a:gd name="connsiteX39" fmla="*/ 341947 w 6057037"/>
              <a:gd name="connsiteY39" fmla="*/ 833755 h 6877049"/>
              <a:gd name="connsiteX40" fmla="*/ 322897 w 6057037"/>
              <a:gd name="connsiteY40" fmla="*/ 833755 h 6877049"/>
              <a:gd name="connsiteX41" fmla="*/ 518160 w 6057037"/>
              <a:gd name="connsiteY41" fmla="*/ 810895 h 6877049"/>
              <a:gd name="connsiteX42" fmla="*/ 538161 w 6057037"/>
              <a:gd name="connsiteY42" fmla="*/ 810895 h 6877049"/>
              <a:gd name="connsiteX43" fmla="*/ 543877 w 6057037"/>
              <a:gd name="connsiteY43" fmla="*/ 815658 h 6877049"/>
              <a:gd name="connsiteX44" fmla="*/ 538161 w 6057037"/>
              <a:gd name="connsiteY44" fmla="*/ 821373 h 6877049"/>
              <a:gd name="connsiteX45" fmla="*/ 518160 w 6057037"/>
              <a:gd name="connsiteY45" fmla="*/ 821373 h 6877049"/>
              <a:gd name="connsiteX46" fmla="*/ 518160 w 6057037"/>
              <a:gd name="connsiteY46" fmla="*/ 810895 h 6877049"/>
              <a:gd name="connsiteX47" fmla="*/ 251459 w 6057037"/>
              <a:gd name="connsiteY47" fmla="*/ 810894 h 6877049"/>
              <a:gd name="connsiteX48" fmla="*/ 275271 w 6057037"/>
              <a:gd name="connsiteY48" fmla="*/ 810894 h 6877049"/>
              <a:gd name="connsiteX49" fmla="*/ 280034 w 6057037"/>
              <a:gd name="connsiteY49" fmla="*/ 815657 h 6877049"/>
              <a:gd name="connsiteX50" fmla="*/ 275271 w 6057037"/>
              <a:gd name="connsiteY50" fmla="*/ 820419 h 6877049"/>
              <a:gd name="connsiteX51" fmla="*/ 251459 w 6057037"/>
              <a:gd name="connsiteY51" fmla="*/ 820419 h 6877049"/>
              <a:gd name="connsiteX52" fmla="*/ 361950 w 6057037"/>
              <a:gd name="connsiteY52" fmla="*/ 798513 h 6877049"/>
              <a:gd name="connsiteX53" fmla="*/ 388620 w 6057037"/>
              <a:gd name="connsiteY53" fmla="*/ 835660 h 6877049"/>
              <a:gd name="connsiteX54" fmla="*/ 388620 w 6057037"/>
              <a:gd name="connsiteY54" fmla="*/ 855663 h 6877049"/>
              <a:gd name="connsiteX55" fmla="*/ 401955 w 6057037"/>
              <a:gd name="connsiteY55" fmla="*/ 855663 h 6877049"/>
              <a:gd name="connsiteX56" fmla="*/ 401955 w 6057037"/>
              <a:gd name="connsiteY56" fmla="*/ 835660 h 6877049"/>
              <a:gd name="connsiteX57" fmla="*/ 428625 w 6057037"/>
              <a:gd name="connsiteY57" fmla="*/ 798513 h 6877049"/>
              <a:gd name="connsiteX58" fmla="*/ 413385 w 6057037"/>
              <a:gd name="connsiteY58" fmla="*/ 798513 h 6877049"/>
              <a:gd name="connsiteX59" fmla="*/ 396240 w 6057037"/>
              <a:gd name="connsiteY59" fmla="*/ 823278 h 6877049"/>
              <a:gd name="connsiteX60" fmla="*/ 377190 w 6057037"/>
              <a:gd name="connsiteY60" fmla="*/ 798513 h 6877049"/>
              <a:gd name="connsiteX61" fmla="*/ 438150 w 6057037"/>
              <a:gd name="connsiteY61" fmla="*/ 798513 h 6877049"/>
              <a:gd name="connsiteX62" fmla="*/ 438150 w 6057037"/>
              <a:gd name="connsiteY62" fmla="*/ 855663 h 6877049"/>
              <a:gd name="connsiteX63" fmla="*/ 485775 w 6057037"/>
              <a:gd name="connsiteY63" fmla="*/ 855663 h 6877049"/>
              <a:gd name="connsiteX64" fmla="*/ 485775 w 6057037"/>
              <a:gd name="connsiteY64" fmla="*/ 844233 h 6877049"/>
              <a:gd name="connsiteX65" fmla="*/ 450532 w 6057037"/>
              <a:gd name="connsiteY65" fmla="*/ 844233 h 6877049"/>
              <a:gd name="connsiteX66" fmla="*/ 450532 w 6057037"/>
              <a:gd name="connsiteY66" fmla="*/ 831850 h 6877049"/>
              <a:gd name="connsiteX67" fmla="*/ 485775 w 6057037"/>
              <a:gd name="connsiteY67" fmla="*/ 831850 h 6877049"/>
              <a:gd name="connsiteX68" fmla="*/ 485775 w 6057037"/>
              <a:gd name="connsiteY68" fmla="*/ 820420 h 6877049"/>
              <a:gd name="connsiteX69" fmla="*/ 450532 w 6057037"/>
              <a:gd name="connsiteY69" fmla="*/ 820420 h 6877049"/>
              <a:gd name="connsiteX70" fmla="*/ 450532 w 6057037"/>
              <a:gd name="connsiteY70" fmla="*/ 809943 h 6877049"/>
              <a:gd name="connsiteX71" fmla="*/ 485775 w 6057037"/>
              <a:gd name="connsiteY71" fmla="*/ 809943 h 6877049"/>
              <a:gd name="connsiteX72" fmla="*/ 485775 w 6057037"/>
              <a:gd name="connsiteY72" fmla="*/ 798513 h 6877049"/>
              <a:gd name="connsiteX73" fmla="*/ 504825 w 6057037"/>
              <a:gd name="connsiteY73" fmla="*/ 798513 h 6877049"/>
              <a:gd name="connsiteX74" fmla="*/ 504825 w 6057037"/>
              <a:gd name="connsiteY74" fmla="*/ 855663 h 6877049"/>
              <a:gd name="connsiteX75" fmla="*/ 518160 w 6057037"/>
              <a:gd name="connsiteY75" fmla="*/ 855663 h 6877049"/>
              <a:gd name="connsiteX76" fmla="*/ 518160 w 6057037"/>
              <a:gd name="connsiteY76" fmla="*/ 833755 h 6877049"/>
              <a:gd name="connsiteX77" fmla="*/ 528637 w 6057037"/>
              <a:gd name="connsiteY77" fmla="*/ 833755 h 6877049"/>
              <a:gd name="connsiteX78" fmla="*/ 545782 w 6057037"/>
              <a:gd name="connsiteY78" fmla="*/ 855663 h 6877049"/>
              <a:gd name="connsiteX79" fmla="*/ 561975 w 6057037"/>
              <a:gd name="connsiteY79" fmla="*/ 855663 h 6877049"/>
              <a:gd name="connsiteX80" fmla="*/ 544829 w 6057037"/>
              <a:gd name="connsiteY80" fmla="*/ 833755 h 6877049"/>
              <a:gd name="connsiteX81" fmla="*/ 558164 w 6057037"/>
              <a:gd name="connsiteY81" fmla="*/ 816610 h 6877049"/>
              <a:gd name="connsiteX82" fmla="*/ 540067 w 6057037"/>
              <a:gd name="connsiteY82" fmla="*/ 798513 h 6877049"/>
              <a:gd name="connsiteX83" fmla="*/ 504825 w 6057037"/>
              <a:gd name="connsiteY83" fmla="*/ 798513 h 6877049"/>
              <a:gd name="connsiteX84" fmla="*/ 326707 w 6057037"/>
              <a:gd name="connsiteY84" fmla="*/ 798512 h 6877049"/>
              <a:gd name="connsiteX85" fmla="*/ 300037 w 6057037"/>
              <a:gd name="connsiteY85" fmla="*/ 855662 h 6877049"/>
              <a:gd name="connsiteX86" fmla="*/ 314324 w 6057037"/>
              <a:gd name="connsiteY86" fmla="*/ 855662 h 6877049"/>
              <a:gd name="connsiteX87" fmla="*/ 318134 w 6057037"/>
              <a:gd name="connsiteY87" fmla="*/ 845184 h 6877049"/>
              <a:gd name="connsiteX88" fmla="*/ 347662 w 6057037"/>
              <a:gd name="connsiteY88" fmla="*/ 845184 h 6877049"/>
              <a:gd name="connsiteX89" fmla="*/ 352424 w 6057037"/>
              <a:gd name="connsiteY89" fmla="*/ 855662 h 6877049"/>
              <a:gd name="connsiteX90" fmla="*/ 366712 w 6057037"/>
              <a:gd name="connsiteY90" fmla="*/ 855662 h 6877049"/>
              <a:gd name="connsiteX91" fmla="*/ 339089 w 6057037"/>
              <a:gd name="connsiteY91" fmla="*/ 798512 h 6877049"/>
              <a:gd name="connsiteX92" fmla="*/ 238124 w 6057037"/>
              <a:gd name="connsiteY92" fmla="*/ 798512 h 6877049"/>
              <a:gd name="connsiteX93" fmla="*/ 238124 w 6057037"/>
              <a:gd name="connsiteY93" fmla="*/ 855662 h 6877049"/>
              <a:gd name="connsiteX94" fmla="*/ 278129 w 6057037"/>
              <a:gd name="connsiteY94" fmla="*/ 855662 h 6877049"/>
              <a:gd name="connsiteX95" fmla="*/ 295274 w 6057037"/>
              <a:gd name="connsiteY95" fmla="*/ 838517 h 6877049"/>
              <a:gd name="connsiteX96" fmla="*/ 289559 w 6057037"/>
              <a:gd name="connsiteY96" fmla="*/ 826134 h 6877049"/>
              <a:gd name="connsiteX97" fmla="*/ 293369 w 6057037"/>
              <a:gd name="connsiteY97" fmla="*/ 815657 h 6877049"/>
              <a:gd name="connsiteX98" fmla="*/ 277176 w 6057037"/>
              <a:gd name="connsiteY98" fmla="*/ 798512 h 6877049"/>
              <a:gd name="connsiteX99" fmla="*/ 238124 w 6057037"/>
              <a:gd name="connsiteY99" fmla="*/ 798512 h 6877049"/>
              <a:gd name="connsiteX100" fmla="*/ 394334 w 6057037"/>
              <a:gd name="connsiteY100" fmla="*/ 745172 h 6877049"/>
              <a:gd name="connsiteX101" fmla="*/ 403859 w 6057037"/>
              <a:gd name="connsiteY101" fmla="*/ 767079 h 6877049"/>
              <a:gd name="connsiteX102" fmla="*/ 384809 w 6057037"/>
              <a:gd name="connsiteY102" fmla="*/ 767079 h 6877049"/>
              <a:gd name="connsiteX103" fmla="*/ 388619 w 6057037"/>
              <a:gd name="connsiteY103" fmla="*/ 731837 h 6877049"/>
              <a:gd name="connsiteX104" fmla="*/ 361949 w 6057037"/>
              <a:gd name="connsiteY104" fmla="*/ 788987 h 6877049"/>
              <a:gd name="connsiteX105" fmla="*/ 376236 w 6057037"/>
              <a:gd name="connsiteY105" fmla="*/ 788987 h 6877049"/>
              <a:gd name="connsiteX106" fmla="*/ 380046 w 6057037"/>
              <a:gd name="connsiteY106" fmla="*/ 778509 h 6877049"/>
              <a:gd name="connsiteX107" fmla="*/ 409574 w 6057037"/>
              <a:gd name="connsiteY107" fmla="*/ 778509 h 6877049"/>
              <a:gd name="connsiteX108" fmla="*/ 414336 w 6057037"/>
              <a:gd name="connsiteY108" fmla="*/ 788987 h 6877049"/>
              <a:gd name="connsiteX109" fmla="*/ 428624 w 6057037"/>
              <a:gd name="connsiteY109" fmla="*/ 788987 h 6877049"/>
              <a:gd name="connsiteX110" fmla="*/ 401001 w 6057037"/>
              <a:gd name="connsiteY110" fmla="*/ 731837 h 6877049"/>
              <a:gd name="connsiteX111" fmla="*/ 384810 w 6057037"/>
              <a:gd name="connsiteY111" fmla="*/ 698500 h 6877049"/>
              <a:gd name="connsiteX112" fmla="*/ 409575 w 6057037"/>
              <a:gd name="connsiteY112" fmla="*/ 698500 h 6877049"/>
              <a:gd name="connsiteX113" fmla="*/ 415290 w 6057037"/>
              <a:gd name="connsiteY113" fmla="*/ 704215 h 6877049"/>
              <a:gd name="connsiteX114" fmla="*/ 409575 w 6057037"/>
              <a:gd name="connsiteY114" fmla="*/ 709930 h 6877049"/>
              <a:gd name="connsiteX115" fmla="*/ 384810 w 6057037"/>
              <a:gd name="connsiteY115" fmla="*/ 709930 h 6877049"/>
              <a:gd name="connsiteX116" fmla="*/ 384810 w 6057037"/>
              <a:gd name="connsiteY116" fmla="*/ 677545 h 6877049"/>
              <a:gd name="connsiteX117" fmla="*/ 408622 w 6057037"/>
              <a:gd name="connsiteY117" fmla="*/ 677545 h 6877049"/>
              <a:gd name="connsiteX118" fmla="*/ 413385 w 6057037"/>
              <a:gd name="connsiteY118" fmla="*/ 682308 h 6877049"/>
              <a:gd name="connsiteX119" fmla="*/ 408622 w 6057037"/>
              <a:gd name="connsiteY119" fmla="*/ 687070 h 6877049"/>
              <a:gd name="connsiteX120" fmla="*/ 384810 w 6057037"/>
              <a:gd name="connsiteY120" fmla="*/ 687070 h 6877049"/>
              <a:gd name="connsiteX121" fmla="*/ 371475 w 6057037"/>
              <a:gd name="connsiteY121" fmla="*/ 665163 h 6877049"/>
              <a:gd name="connsiteX122" fmla="*/ 371475 w 6057037"/>
              <a:gd name="connsiteY122" fmla="*/ 722313 h 6877049"/>
              <a:gd name="connsiteX123" fmla="*/ 411480 w 6057037"/>
              <a:gd name="connsiteY123" fmla="*/ 722313 h 6877049"/>
              <a:gd name="connsiteX124" fmla="*/ 428625 w 6057037"/>
              <a:gd name="connsiteY124" fmla="*/ 705168 h 6877049"/>
              <a:gd name="connsiteX125" fmla="*/ 423862 w 6057037"/>
              <a:gd name="connsiteY125" fmla="*/ 692785 h 6877049"/>
              <a:gd name="connsiteX126" fmla="*/ 426720 w 6057037"/>
              <a:gd name="connsiteY126" fmla="*/ 682308 h 6877049"/>
              <a:gd name="connsiteX127" fmla="*/ 410527 w 6057037"/>
              <a:gd name="connsiteY127" fmla="*/ 665163 h 6877049"/>
              <a:gd name="connsiteX128" fmla="*/ 371475 w 6057037"/>
              <a:gd name="connsiteY128" fmla="*/ 665163 h 6877049"/>
              <a:gd name="connsiteX129" fmla="*/ 395906 w 6057037"/>
              <a:gd name="connsiteY129" fmla="*/ 651618 h 6877049"/>
              <a:gd name="connsiteX130" fmla="*/ 556451 w 6057037"/>
              <a:gd name="connsiteY130" fmla="*/ 732650 h 6877049"/>
              <a:gd name="connsiteX131" fmla="*/ 580894 w 6057037"/>
              <a:gd name="connsiteY131" fmla="*/ 776411 h 6877049"/>
              <a:gd name="connsiteX132" fmla="*/ 580897 w 6057037"/>
              <a:gd name="connsiteY132" fmla="*/ 776421 h 6877049"/>
              <a:gd name="connsiteX133" fmla="*/ 556803 w 6057037"/>
              <a:gd name="connsiteY133" fmla="*/ 733457 h 6877049"/>
              <a:gd name="connsiteX134" fmla="*/ 396257 w 6057037"/>
              <a:gd name="connsiteY134" fmla="*/ 652463 h 6877049"/>
              <a:gd name="connsiteX135" fmla="*/ 570519 w 6057037"/>
              <a:gd name="connsiteY135" fmla="*/ 814450 h 6877049"/>
              <a:gd name="connsiteX136" fmla="*/ 570870 w 6057037"/>
              <a:gd name="connsiteY136" fmla="*/ 826722 h 6877049"/>
              <a:gd name="connsiteX137" fmla="*/ 570519 w 6057037"/>
              <a:gd name="connsiteY137" fmla="*/ 838994 h 6877049"/>
              <a:gd name="connsiteX138" fmla="*/ 396257 w 6057037"/>
              <a:gd name="connsiteY138" fmla="*/ 1000806 h 6877049"/>
              <a:gd name="connsiteX139" fmla="*/ 235711 w 6057037"/>
              <a:gd name="connsiteY139" fmla="*/ 919988 h 6877049"/>
              <a:gd name="connsiteX140" fmla="*/ 211203 w 6057037"/>
              <a:gd name="connsiteY140" fmla="*/ 876226 h 6877049"/>
              <a:gd name="connsiteX141" fmla="*/ 211136 w 6057037"/>
              <a:gd name="connsiteY141" fmla="*/ 875964 h 6877049"/>
              <a:gd name="connsiteX142" fmla="*/ 235360 w 6057037"/>
              <a:gd name="connsiteY142" fmla="*/ 919269 h 6877049"/>
              <a:gd name="connsiteX143" fmla="*/ 395906 w 6057037"/>
              <a:gd name="connsiteY143" fmla="*/ 1000125 h 6877049"/>
              <a:gd name="connsiteX144" fmla="*/ 221644 w 6057037"/>
              <a:gd name="connsiteY144" fmla="*/ 838237 h 6877049"/>
              <a:gd name="connsiteX145" fmla="*/ 221292 w 6057037"/>
              <a:gd name="connsiteY145" fmla="*/ 825959 h 6877049"/>
              <a:gd name="connsiteX146" fmla="*/ 221644 w 6057037"/>
              <a:gd name="connsiteY146" fmla="*/ 813682 h 6877049"/>
              <a:gd name="connsiteX147" fmla="*/ 395906 w 6057037"/>
              <a:gd name="connsiteY147" fmla="*/ 651618 h 6877049"/>
              <a:gd name="connsiteX148" fmla="*/ 395906 w 6057037"/>
              <a:gd name="connsiteY148" fmla="*/ 627063 h 6877049"/>
              <a:gd name="connsiteX149" fmla="*/ 196850 w 6057037"/>
              <a:gd name="connsiteY149" fmla="*/ 813682 h 6877049"/>
              <a:gd name="connsiteX150" fmla="*/ 197141 w 6057037"/>
              <a:gd name="connsiteY150" fmla="*/ 816580 h 6877049"/>
              <a:gd name="connsiteX151" fmla="*/ 196850 w 6057037"/>
              <a:gd name="connsiteY151" fmla="*/ 826722 h 6877049"/>
              <a:gd name="connsiteX152" fmla="*/ 197202 w 6057037"/>
              <a:gd name="connsiteY152" fmla="*/ 838994 h 6877049"/>
              <a:gd name="connsiteX153" fmla="*/ 396257 w 6057037"/>
              <a:gd name="connsiteY153" fmla="*/ 1025525 h 6877049"/>
              <a:gd name="connsiteX154" fmla="*/ 595313 w 6057037"/>
              <a:gd name="connsiteY154" fmla="*/ 838994 h 6877049"/>
              <a:gd name="connsiteX155" fmla="*/ 595023 w 6057037"/>
              <a:gd name="connsiteY155" fmla="*/ 836067 h 6877049"/>
              <a:gd name="connsiteX156" fmla="*/ 595313 w 6057037"/>
              <a:gd name="connsiteY156" fmla="*/ 825959 h 6877049"/>
              <a:gd name="connsiteX157" fmla="*/ 594961 w 6057037"/>
              <a:gd name="connsiteY157" fmla="*/ 813682 h 6877049"/>
              <a:gd name="connsiteX158" fmla="*/ 395906 w 6057037"/>
              <a:gd name="connsiteY158" fmla="*/ 627063 h 6877049"/>
              <a:gd name="connsiteX159" fmla="*/ 0 w 6057037"/>
              <a:gd name="connsiteY159" fmla="*/ 0 h 6877049"/>
              <a:gd name="connsiteX160" fmla="*/ 4723899 w 6057037"/>
              <a:gd name="connsiteY160" fmla="*/ 0 h 6877049"/>
              <a:gd name="connsiteX161" fmla="*/ 6057037 w 6057037"/>
              <a:gd name="connsiteY161" fmla="*/ 0 h 6877049"/>
              <a:gd name="connsiteX162" fmla="*/ 5820308 w 6057037"/>
              <a:gd name="connsiteY162" fmla="*/ 1220872 h 6877049"/>
              <a:gd name="connsiteX163" fmla="*/ 3753506 w 6057037"/>
              <a:gd name="connsiteY163" fmla="*/ 6877049 h 6877049"/>
              <a:gd name="connsiteX164" fmla="*/ 0 w 6057037"/>
              <a:gd name="connsiteY164" fmla="*/ 6877049 h 6877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</a:cxnLst>
            <a:rect l="l" t="t" r="r" b="b"/>
            <a:pathLst>
              <a:path w="6057037" h="6877049">
                <a:moveTo>
                  <a:pt x="5798642" y="1332612"/>
                </a:moveTo>
                <a:lnTo>
                  <a:pt x="4723899" y="6875332"/>
                </a:lnTo>
                <a:lnTo>
                  <a:pt x="4723899" y="6877049"/>
                </a:lnTo>
                <a:lnTo>
                  <a:pt x="3772669" y="6877049"/>
                </a:lnTo>
                <a:close/>
                <a:moveTo>
                  <a:pt x="384809" y="944244"/>
                </a:moveTo>
                <a:cubicBezTo>
                  <a:pt x="384809" y="944244"/>
                  <a:pt x="384809" y="944244"/>
                  <a:pt x="405764" y="944244"/>
                </a:cubicBezTo>
                <a:cubicBezTo>
                  <a:pt x="408621" y="944244"/>
                  <a:pt x="410526" y="947102"/>
                  <a:pt x="410526" y="949959"/>
                </a:cubicBezTo>
                <a:cubicBezTo>
                  <a:pt x="410526" y="952817"/>
                  <a:pt x="407669" y="954722"/>
                  <a:pt x="405764" y="954722"/>
                </a:cubicBezTo>
                <a:cubicBezTo>
                  <a:pt x="405764" y="954722"/>
                  <a:pt x="405764" y="954722"/>
                  <a:pt x="384809" y="954722"/>
                </a:cubicBezTo>
                <a:cubicBezTo>
                  <a:pt x="384809" y="954722"/>
                  <a:pt x="384809" y="954722"/>
                  <a:pt x="384809" y="944244"/>
                </a:cubicBezTo>
                <a:close/>
                <a:moveTo>
                  <a:pt x="371474" y="931862"/>
                </a:moveTo>
                <a:cubicBezTo>
                  <a:pt x="371474" y="931862"/>
                  <a:pt x="371474" y="931862"/>
                  <a:pt x="371474" y="989012"/>
                </a:cubicBezTo>
                <a:lnTo>
                  <a:pt x="383856" y="989012"/>
                </a:lnTo>
                <a:cubicBezTo>
                  <a:pt x="383856" y="989012"/>
                  <a:pt x="383856" y="989012"/>
                  <a:pt x="383856" y="967104"/>
                </a:cubicBezTo>
                <a:cubicBezTo>
                  <a:pt x="383856" y="967104"/>
                  <a:pt x="383856" y="967104"/>
                  <a:pt x="398144" y="967104"/>
                </a:cubicBezTo>
                <a:cubicBezTo>
                  <a:pt x="398144" y="967104"/>
                  <a:pt x="398144" y="967104"/>
                  <a:pt x="413384" y="989012"/>
                </a:cubicBezTo>
                <a:cubicBezTo>
                  <a:pt x="413384" y="989012"/>
                  <a:pt x="413384" y="989012"/>
                  <a:pt x="428624" y="989012"/>
                </a:cubicBezTo>
                <a:cubicBezTo>
                  <a:pt x="428624" y="989012"/>
                  <a:pt x="428624" y="989012"/>
                  <a:pt x="412431" y="966152"/>
                </a:cubicBezTo>
                <a:cubicBezTo>
                  <a:pt x="419099" y="964247"/>
                  <a:pt x="422909" y="957579"/>
                  <a:pt x="422909" y="949959"/>
                </a:cubicBezTo>
                <a:cubicBezTo>
                  <a:pt x="422909" y="939482"/>
                  <a:pt x="416241" y="931862"/>
                  <a:pt x="406716" y="931862"/>
                </a:cubicBezTo>
                <a:cubicBezTo>
                  <a:pt x="406716" y="931862"/>
                  <a:pt x="406716" y="931862"/>
                  <a:pt x="371474" y="931862"/>
                </a:cubicBezTo>
                <a:close/>
                <a:moveTo>
                  <a:pt x="371474" y="865187"/>
                </a:moveTo>
                <a:lnTo>
                  <a:pt x="371474" y="922337"/>
                </a:lnTo>
                <a:lnTo>
                  <a:pt x="419099" y="922337"/>
                </a:lnTo>
                <a:lnTo>
                  <a:pt x="419099" y="910907"/>
                </a:lnTo>
                <a:lnTo>
                  <a:pt x="383856" y="910907"/>
                </a:lnTo>
                <a:lnTo>
                  <a:pt x="383856" y="898524"/>
                </a:lnTo>
                <a:lnTo>
                  <a:pt x="417194" y="898524"/>
                </a:lnTo>
                <a:lnTo>
                  <a:pt x="417194" y="887094"/>
                </a:lnTo>
                <a:lnTo>
                  <a:pt x="383856" y="887094"/>
                </a:lnTo>
                <a:lnTo>
                  <a:pt x="383856" y="876617"/>
                </a:lnTo>
                <a:lnTo>
                  <a:pt x="419099" y="876617"/>
                </a:lnTo>
                <a:lnTo>
                  <a:pt x="419099" y="865187"/>
                </a:lnTo>
                <a:close/>
                <a:moveTo>
                  <a:pt x="251459" y="831849"/>
                </a:moveTo>
                <a:cubicBezTo>
                  <a:pt x="251459" y="831849"/>
                  <a:pt x="251459" y="831849"/>
                  <a:pt x="276224" y="831849"/>
                </a:cubicBezTo>
                <a:cubicBezTo>
                  <a:pt x="279081" y="831849"/>
                  <a:pt x="281939" y="834707"/>
                  <a:pt x="281939" y="837564"/>
                </a:cubicBezTo>
                <a:cubicBezTo>
                  <a:pt x="281939" y="840422"/>
                  <a:pt x="279081" y="843279"/>
                  <a:pt x="276224" y="843279"/>
                </a:cubicBezTo>
                <a:cubicBezTo>
                  <a:pt x="276224" y="843279"/>
                  <a:pt x="276224" y="843279"/>
                  <a:pt x="251459" y="843279"/>
                </a:cubicBezTo>
                <a:close/>
                <a:moveTo>
                  <a:pt x="332422" y="811847"/>
                </a:moveTo>
                <a:lnTo>
                  <a:pt x="341947" y="833755"/>
                </a:lnTo>
                <a:lnTo>
                  <a:pt x="322897" y="833755"/>
                </a:lnTo>
                <a:close/>
                <a:moveTo>
                  <a:pt x="518160" y="810895"/>
                </a:moveTo>
                <a:cubicBezTo>
                  <a:pt x="518160" y="810895"/>
                  <a:pt x="518160" y="810895"/>
                  <a:pt x="538161" y="810895"/>
                </a:cubicBezTo>
                <a:cubicBezTo>
                  <a:pt x="541972" y="810895"/>
                  <a:pt x="543877" y="812800"/>
                  <a:pt x="543877" y="815658"/>
                </a:cubicBezTo>
                <a:cubicBezTo>
                  <a:pt x="543877" y="818515"/>
                  <a:pt x="541020" y="821373"/>
                  <a:pt x="538161" y="821373"/>
                </a:cubicBezTo>
                <a:cubicBezTo>
                  <a:pt x="538161" y="821373"/>
                  <a:pt x="538161" y="821373"/>
                  <a:pt x="518160" y="821373"/>
                </a:cubicBezTo>
                <a:cubicBezTo>
                  <a:pt x="518160" y="821373"/>
                  <a:pt x="518160" y="821373"/>
                  <a:pt x="518160" y="810895"/>
                </a:cubicBezTo>
                <a:close/>
                <a:moveTo>
                  <a:pt x="251459" y="810894"/>
                </a:moveTo>
                <a:cubicBezTo>
                  <a:pt x="251459" y="810894"/>
                  <a:pt x="251459" y="810894"/>
                  <a:pt x="275271" y="810894"/>
                </a:cubicBezTo>
                <a:cubicBezTo>
                  <a:pt x="278129" y="810894"/>
                  <a:pt x="280034" y="812799"/>
                  <a:pt x="280034" y="815657"/>
                </a:cubicBezTo>
                <a:cubicBezTo>
                  <a:pt x="280034" y="818514"/>
                  <a:pt x="278129" y="820419"/>
                  <a:pt x="275271" y="820419"/>
                </a:cubicBezTo>
                <a:cubicBezTo>
                  <a:pt x="275271" y="820419"/>
                  <a:pt x="275271" y="820419"/>
                  <a:pt x="251459" y="820419"/>
                </a:cubicBezTo>
                <a:close/>
                <a:moveTo>
                  <a:pt x="361950" y="798513"/>
                </a:moveTo>
                <a:lnTo>
                  <a:pt x="388620" y="835660"/>
                </a:lnTo>
                <a:lnTo>
                  <a:pt x="388620" y="855663"/>
                </a:lnTo>
                <a:lnTo>
                  <a:pt x="401955" y="855663"/>
                </a:lnTo>
                <a:lnTo>
                  <a:pt x="401955" y="835660"/>
                </a:lnTo>
                <a:lnTo>
                  <a:pt x="428625" y="798513"/>
                </a:lnTo>
                <a:lnTo>
                  <a:pt x="413385" y="798513"/>
                </a:lnTo>
                <a:lnTo>
                  <a:pt x="396240" y="823278"/>
                </a:lnTo>
                <a:lnTo>
                  <a:pt x="377190" y="798513"/>
                </a:lnTo>
                <a:close/>
                <a:moveTo>
                  <a:pt x="438150" y="798513"/>
                </a:moveTo>
                <a:lnTo>
                  <a:pt x="438150" y="855663"/>
                </a:lnTo>
                <a:lnTo>
                  <a:pt x="485775" y="855663"/>
                </a:lnTo>
                <a:lnTo>
                  <a:pt x="485775" y="844233"/>
                </a:lnTo>
                <a:lnTo>
                  <a:pt x="450532" y="844233"/>
                </a:lnTo>
                <a:lnTo>
                  <a:pt x="450532" y="831850"/>
                </a:lnTo>
                <a:lnTo>
                  <a:pt x="485775" y="831850"/>
                </a:lnTo>
                <a:lnTo>
                  <a:pt x="485775" y="820420"/>
                </a:lnTo>
                <a:lnTo>
                  <a:pt x="450532" y="820420"/>
                </a:lnTo>
                <a:lnTo>
                  <a:pt x="450532" y="809943"/>
                </a:lnTo>
                <a:lnTo>
                  <a:pt x="485775" y="809943"/>
                </a:lnTo>
                <a:lnTo>
                  <a:pt x="485775" y="798513"/>
                </a:lnTo>
                <a:close/>
                <a:moveTo>
                  <a:pt x="504825" y="798513"/>
                </a:moveTo>
                <a:cubicBezTo>
                  <a:pt x="504825" y="798513"/>
                  <a:pt x="504825" y="798513"/>
                  <a:pt x="504825" y="855663"/>
                </a:cubicBezTo>
                <a:cubicBezTo>
                  <a:pt x="504825" y="855663"/>
                  <a:pt x="504825" y="855663"/>
                  <a:pt x="518160" y="855663"/>
                </a:cubicBezTo>
                <a:cubicBezTo>
                  <a:pt x="518160" y="855663"/>
                  <a:pt x="518160" y="855663"/>
                  <a:pt x="518160" y="833755"/>
                </a:cubicBezTo>
                <a:cubicBezTo>
                  <a:pt x="518160" y="833755"/>
                  <a:pt x="518160" y="833755"/>
                  <a:pt x="528637" y="833755"/>
                </a:cubicBezTo>
                <a:lnTo>
                  <a:pt x="545782" y="855663"/>
                </a:lnTo>
                <a:cubicBezTo>
                  <a:pt x="545782" y="855663"/>
                  <a:pt x="545782" y="855663"/>
                  <a:pt x="561975" y="855663"/>
                </a:cubicBezTo>
                <a:cubicBezTo>
                  <a:pt x="561975" y="855663"/>
                  <a:pt x="561975" y="855663"/>
                  <a:pt x="544829" y="833755"/>
                </a:cubicBezTo>
                <a:cubicBezTo>
                  <a:pt x="552450" y="830898"/>
                  <a:pt x="558164" y="824230"/>
                  <a:pt x="558164" y="816610"/>
                </a:cubicBezTo>
                <a:cubicBezTo>
                  <a:pt x="558164" y="806133"/>
                  <a:pt x="549592" y="798513"/>
                  <a:pt x="540067" y="798513"/>
                </a:cubicBezTo>
                <a:cubicBezTo>
                  <a:pt x="540067" y="798513"/>
                  <a:pt x="540067" y="798513"/>
                  <a:pt x="504825" y="798513"/>
                </a:cubicBezTo>
                <a:close/>
                <a:moveTo>
                  <a:pt x="326707" y="798512"/>
                </a:moveTo>
                <a:lnTo>
                  <a:pt x="300037" y="855662"/>
                </a:lnTo>
                <a:lnTo>
                  <a:pt x="314324" y="855662"/>
                </a:lnTo>
                <a:lnTo>
                  <a:pt x="318134" y="845184"/>
                </a:lnTo>
                <a:lnTo>
                  <a:pt x="347662" y="845184"/>
                </a:lnTo>
                <a:lnTo>
                  <a:pt x="352424" y="855662"/>
                </a:lnTo>
                <a:lnTo>
                  <a:pt x="366712" y="855662"/>
                </a:lnTo>
                <a:lnTo>
                  <a:pt x="339089" y="798512"/>
                </a:lnTo>
                <a:close/>
                <a:moveTo>
                  <a:pt x="238124" y="798512"/>
                </a:moveTo>
                <a:cubicBezTo>
                  <a:pt x="238124" y="798512"/>
                  <a:pt x="238124" y="798512"/>
                  <a:pt x="238124" y="855662"/>
                </a:cubicBezTo>
                <a:cubicBezTo>
                  <a:pt x="238124" y="855662"/>
                  <a:pt x="238124" y="855662"/>
                  <a:pt x="278129" y="855662"/>
                </a:cubicBezTo>
                <a:cubicBezTo>
                  <a:pt x="287654" y="855662"/>
                  <a:pt x="295274" y="848042"/>
                  <a:pt x="295274" y="838517"/>
                </a:cubicBezTo>
                <a:cubicBezTo>
                  <a:pt x="295274" y="833754"/>
                  <a:pt x="293369" y="828992"/>
                  <a:pt x="289559" y="826134"/>
                </a:cubicBezTo>
                <a:cubicBezTo>
                  <a:pt x="292416" y="823277"/>
                  <a:pt x="294321" y="819467"/>
                  <a:pt x="293369" y="815657"/>
                </a:cubicBezTo>
                <a:cubicBezTo>
                  <a:pt x="293369" y="806132"/>
                  <a:pt x="286701" y="798512"/>
                  <a:pt x="277176" y="798512"/>
                </a:cubicBezTo>
                <a:cubicBezTo>
                  <a:pt x="277176" y="798512"/>
                  <a:pt x="277176" y="798512"/>
                  <a:pt x="238124" y="798512"/>
                </a:cubicBezTo>
                <a:close/>
                <a:moveTo>
                  <a:pt x="394334" y="745172"/>
                </a:moveTo>
                <a:lnTo>
                  <a:pt x="403859" y="767079"/>
                </a:lnTo>
                <a:lnTo>
                  <a:pt x="384809" y="767079"/>
                </a:lnTo>
                <a:close/>
                <a:moveTo>
                  <a:pt x="388619" y="731837"/>
                </a:moveTo>
                <a:lnTo>
                  <a:pt x="361949" y="788987"/>
                </a:lnTo>
                <a:lnTo>
                  <a:pt x="376236" y="788987"/>
                </a:lnTo>
                <a:lnTo>
                  <a:pt x="380046" y="778509"/>
                </a:lnTo>
                <a:lnTo>
                  <a:pt x="409574" y="778509"/>
                </a:lnTo>
                <a:lnTo>
                  <a:pt x="414336" y="788987"/>
                </a:lnTo>
                <a:lnTo>
                  <a:pt x="428624" y="788987"/>
                </a:lnTo>
                <a:lnTo>
                  <a:pt x="401001" y="731837"/>
                </a:lnTo>
                <a:close/>
                <a:moveTo>
                  <a:pt x="384810" y="698500"/>
                </a:moveTo>
                <a:cubicBezTo>
                  <a:pt x="384810" y="698500"/>
                  <a:pt x="384810" y="698500"/>
                  <a:pt x="409575" y="698500"/>
                </a:cubicBezTo>
                <a:cubicBezTo>
                  <a:pt x="413385" y="698500"/>
                  <a:pt x="415290" y="701358"/>
                  <a:pt x="415290" y="704215"/>
                </a:cubicBezTo>
                <a:cubicBezTo>
                  <a:pt x="415290" y="707073"/>
                  <a:pt x="412432" y="709930"/>
                  <a:pt x="409575" y="709930"/>
                </a:cubicBezTo>
                <a:cubicBezTo>
                  <a:pt x="409575" y="709930"/>
                  <a:pt x="409575" y="709930"/>
                  <a:pt x="384810" y="709930"/>
                </a:cubicBezTo>
                <a:close/>
                <a:moveTo>
                  <a:pt x="384810" y="677545"/>
                </a:moveTo>
                <a:cubicBezTo>
                  <a:pt x="384810" y="677545"/>
                  <a:pt x="384810" y="677545"/>
                  <a:pt x="408622" y="677545"/>
                </a:cubicBezTo>
                <a:cubicBezTo>
                  <a:pt x="411480" y="677545"/>
                  <a:pt x="413385" y="679450"/>
                  <a:pt x="413385" y="682308"/>
                </a:cubicBezTo>
                <a:cubicBezTo>
                  <a:pt x="413385" y="685165"/>
                  <a:pt x="411480" y="687070"/>
                  <a:pt x="408622" y="687070"/>
                </a:cubicBezTo>
                <a:cubicBezTo>
                  <a:pt x="408622" y="687070"/>
                  <a:pt x="408622" y="687070"/>
                  <a:pt x="384810" y="687070"/>
                </a:cubicBezTo>
                <a:close/>
                <a:moveTo>
                  <a:pt x="371475" y="665163"/>
                </a:moveTo>
                <a:cubicBezTo>
                  <a:pt x="371475" y="665163"/>
                  <a:pt x="371475" y="665163"/>
                  <a:pt x="371475" y="722313"/>
                </a:cubicBezTo>
                <a:cubicBezTo>
                  <a:pt x="371475" y="722313"/>
                  <a:pt x="371475" y="722313"/>
                  <a:pt x="411480" y="722313"/>
                </a:cubicBezTo>
                <a:cubicBezTo>
                  <a:pt x="421005" y="722313"/>
                  <a:pt x="428625" y="714693"/>
                  <a:pt x="428625" y="705168"/>
                </a:cubicBezTo>
                <a:cubicBezTo>
                  <a:pt x="428625" y="700405"/>
                  <a:pt x="426720" y="695643"/>
                  <a:pt x="423862" y="692785"/>
                </a:cubicBezTo>
                <a:cubicBezTo>
                  <a:pt x="425767" y="689928"/>
                  <a:pt x="427672" y="686118"/>
                  <a:pt x="426720" y="682308"/>
                </a:cubicBezTo>
                <a:cubicBezTo>
                  <a:pt x="426720" y="672783"/>
                  <a:pt x="420052" y="665163"/>
                  <a:pt x="410527" y="665163"/>
                </a:cubicBezTo>
                <a:cubicBezTo>
                  <a:pt x="410527" y="665163"/>
                  <a:pt x="410527" y="665163"/>
                  <a:pt x="371475" y="665163"/>
                </a:cubicBezTo>
                <a:close/>
                <a:moveTo>
                  <a:pt x="395906" y="651618"/>
                </a:moveTo>
                <a:cubicBezTo>
                  <a:pt x="461671" y="651618"/>
                  <a:pt x="520052" y="683540"/>
                  <a:pt x="556451" y="732650"/>
                </a:cubicBezTo>
                <a:cubicBezTo>
                  <a:pt x="566299" y="746068"/>
                  <a:pt x="574563" y="760757"/>
                  <a:pt x="580894" y="776411"/>
                </a:cubicBezTo>
                <a:lnTo>
                  <a:pt x="580897" y="776421"/>
                </a:lnTo>
                <a:lnTo>
                  <a:pt x="556803" y="733457"/>
                </a:lnTo>
                <a:cubicBezTo>
                  <a:pt x="520403" y="684370"/>
                  <a:pt x="462023" y="652463"/>
                  <a:pt x="396257" y="652463"/>
                </a:cubicBezTo>
                <a:cubicBezTo>
                  <a:pt x="488400" y="652463"/>
                  <a:pt x="564188" y="723990"/>
                  <a:pt x="570519" y="814450"/>
                </a:cubicBezTo>
                <a:cubicBezTo>
                  <a:pt x="570695" y="818483"/>
                  <a:pt x="570870" y="822515"/>
                  <a:pt x="570870" y="826722"/>
                </a:cubicBezTo>
                <a:cubicBezTo>
                  <a:pt x="570870" y="830754"/>
                  <a:pt x="570695" y="834962"/>
                  <a:pt x="570519" y="838994"/>
                </a:cubicBezTo>
                <a:cubicBezTo>
                  <a:pt x="564188" y="929279"/>
                  <a:pt x="488400" y="1000806"/>
                  <a:pt x="396257" y="1000806"/>
                </a:cubicBezTo>
                <a:cubicBezTo>
                  <a:pt x="330316" y="1000806"/>
                  <a:pt x="271935" y="969075"/>
                  <a:pt x="235711" y="919988"/>
                </a:cubicBezTo>
                <a:cubicBezTo>
                  <a:pt x="225776" y="906576"/>
                  <a:pt x="217512" y="891894"/>
                  <a:pt x="211203" y="876226"/>
                </a:cubicBezTo>
                <a:lnTo>
                  <a:pt x="211136" y="875964"/>
                </a:lnTo>
                <a:lnTo>
                  <a:pt x="235360" y="919269"/>
                </a:lnTo>
                <a:cubicBezTo>
                  <a:pt x="271760" y="968379"/>
                  <a:pt x="329964" y="1000125"/>
                  <a:pt x="395906" y="1000125"/>
                </a:cubicBezTo>
                <a:cubicBezTo>
                  <a:pt x="303763" y="1000125"/>
                  <a:pt x="227974" y="928565"/>
                  <a:pt x="221644" y="838237"/>
                </a:cubicBezTo>
                <a:cubicBezTo>
                  <a:pt x="221292" y="834203"/>
                  <a:pt x="221292" y="829993"/>
                  <a:pt x="221292" y="825959"/>
                </a:cubicBezTo>
                <a:cubicBezTo>
                  <a:pt x="221292" y="821750"/>
                  <a:pt x="221292" y="817716"/>
                  <a:pt x="221644" y="813682"/>
                </a:cubicBezTo>
                <a:cubicBezTo>
                  <a:pt x="227974" y="723179"/>
                  <a:pt x="303763" y="651618"/>
                  <a:pt x="395906" y="651618"/>
                </a:cubicBezTo>
                <a:close/>
                <a:moveTo>
                  <a:pt x="395906" y="627063"/>
                </a:moveTo>
                <a:cubicBezTo>
                  <a:pt x="289872" y="627063"/>
                  <a:pt x="203356" y="709498"/>
                  <a:pt x="196850" y="813682"/>
                </a:cubicBezTo>
                <a:lnTo>
                  <a:pt x="197141" y="816580"/>
                </a:lnTo>
                <a:lnTo>
                  <a:pt x="196850" y="826722"/>
                </a:lnTo>
                <a:cubicBezTo>
                  <a:pt x="196850" y="830754"/>
                  <a:pt x="197026" y="834962"/>
                  <a:pt x="197202" y="838994"/>
                </a:cubicBezTo>
                <a:cubicBezTo>
                  <a:pt x="203708" y="943129"/>
                  <a:pt x="290223" y="1025525"/>
                  <a:pt x="396257" y="1025525"/>
                </a:cubicBezTo>
                <a:cubicBezTo>
                  <a:pt x="502291" y="1025525"/>
                  <a:pt x="588807" y="943129"/>
                  <a:pt x="595313" y="838994"/>
                </a:cubicBezTo>
                <a:lnTo>
                  <a:pt x="595023" y="836067"/>
                </a:lnTo>
                <a:lnTo>
                  <a:pt x="595313" y="825959"/>
                </a:lnTo>
                <a:cubicBezTo>
                  <a:pt x="595313" y="821750"/>
                  <a:pt x="595137" y="817716"/>
                  <a:pt x="594961" y="813682"/>
                </a:cubicBezTo>
                <a:cubicBezTo>
                  <a:pt x="588455" y="709498"/>
                  <a:pt x="501940" y="627063"/>
                  <a:pt x="395906" y="627063"/>
                </a:cubicBezTo>
                <a:close/>
                <a:moveTo>
                  <a:pt x="0" y="0"/>
                </a:moveTo>
                <a:lnTo>
                  <a:pt x="4723899" y="0"/>
                </a:lnTo>
                <a:lnTo>
                  <a:pt x="6057037" y="0"/>
                </a:lnTo>
                <a:lnTo>
                  <a:pt x="5820308" y="1220872"/>
                </a:lnTo>
                <a:lnTo>
                  <a:pt x="3753506" y="6877049"/>
                </a:lnTo>
                <a:lnTo>
                  <a:pt x="0" y="6877049"/>
                </a:lnTo>
                <a:close/>
              </a:path>
            </a:pathLst>
          </a:custGeom>
          <a:gradFill>
            <a:gsLst>
              <a:gs pos="0">
                <a:srgbClr val="10384F"/>
              </a:gs>
              <a:gs pos="54000">
                <a:srgbClr val="10384F">
                  <a:alpha val="92000"/>
                </a:srgbClr>
              </a:gs>
              <a:gs pos="100000">
                <a:srgbClr val="10384F">
                  <a:alpha val="70000"/>
                </a:srgbClr>
              </a:gs>
            </a:gsLst>
            <a:lin ang="0" scaled="1"/>
          </a:gra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2" y="853724"/>
            <a:ext cx="3567164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bg1"/>
                </a:solidFill>
              </a:defRPr>
            </a:lvl1pPr>
            <a:lvl2pPr marL="0" indent="0" algn="l">
              <a:buNone/>
              <a:defRPr sz="1350">
                <a:solidFill>
                  <a:schemeClr val="bg1"/>
                </a:solidFill>
              </a:defRPr>
            </a:lvl2pPr>
            <a:lvl3pPr marL="0" indent="0" algn="l">
              <a:buNone/>
              <a:defRPr sz="1350">
                <a:solidFill>
                  <a:schemeClr val="bg1"/>
                </a:solidFill>
              </a:defRPr>
            </a:lvl3pPr>
            <a:lvl4pPr marL="0" indent="0" algn="l">
              <a:buNone/>
              <a:defRPr sz="1350">
                <a:solidFill>
                  <a:schemeClr val="bg1"/>
                </a:solidFill>
              </a:defRPr>
            </a:lvl4pPr>
            <a:lvl5pPr marL="0" indent="0" algn="l">
              <a:buNone/>
              <a:defRPr sz="1350">
                <a:solidFill>
                  <a:schemeClr val="bg1"/>
                </a:solidFill>
              </a:defRPr>
            </a:lvl5pPr>
            <a:lvl6pPr marL="0" indent="0" algn="l">
              <a:buNone/>
              <a:defRPr sz="1350">
                <a:solidFill>
                  <a:schemeClr val="bg1"/>
                </a:solidFill>
              </a:defRPr>
            </a:lvl6pPr>
            <a:lvl7pPr marL="0" indent="0" algn="l">
              <a:buNone/>
              <a:defRPr sz="1350">
                <a:solidFill>
                  <a:schemeClr val="bg1"/>
                </a:solidFill>
              </a:defRPr>
            </a:lvl7pPr>
            <a:lvl8pPr marL="0" indent="0" algn="l">
              <a:buNone/>
              <a:defRPr sz="1350">
                <a:solidFill>
                  <a:schemeClr val="bg1"/>
                </a:solidFill>
              </a:defRPr>
            </a:lvl8pPr>
            <a:lvl9pPr marL="0" indent="0" algn="l">
              <a:buNone/>
              <a:defRPr sz="13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36462" y="136454"/>
            <a:ext cx="3567164" cy="64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 bwMode="gray">
          <a:xfrm>
            <a:off x="735307" y="1299563"/>
            <a:ext cx="3567164" cy="35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025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 marL="405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3pPr>
            <a:lvl4pPr marL="6075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4pPr>
            <a:lvl5pPr marL="810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5pPr>
            <a:lvl6pPr marL="810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6pPr>
            <a:lvl7pPr marL="810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7pPr>
            <a:lvl8pPr marL="810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8pPr>
            <a:lvl9pPr marL="810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4588A89-7456-42DD-BB37-A4DF7FE6500A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 flipV="1">
            <a:off x="2826260" y="-15244"/>
            <a:ext cx="1880500" cy="51597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oup 48">
            <a:extLst>
              <a:ext uri="{FF2B5EF4-FFF2-40B4-BE49-F238E27FC236}">
                <a16:creationId xmlns:a16="http://schemas.microsoft.com/office/drawing/2014/main" id="{B463DFBD-DDCC-4E23-AC33-E3AB6130B8B6}"/>
              </a:ext>
            </a:extLst>
          </p:cNvPr>
          <p:cNvGrpSpPr/>
          <p:nvPr userDrawn="1"/>
        </p:nvGrpSpPr>
        <p:grpSpPr>
          <a:xfrm>
            <a:off x="147657" y="463153"/>
            <a:ext cx="298886" cy="298847"/>
            <a:chOff x="196850" y="617538"/>
            <a:chExt cx="398463" cy="398462"/>
          </a:xfrm>
        </p:grpSpPr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0CC0D6AE-F0E5-4EC7-93D8-0E58DB24FF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50" y="617538"/>
              <a:ext cx="398463" cy="373062"/>
            </a:xfrm>
            <a:custGeom>
              <a:avLst/>
              <a:gdLst>
                <a:gd name="T0" fmla="*/ 2264 w 2266"/>
                <a:gd name="T1" fmla="*/ 1064 h 2127"/>
                <a:gd name="T2" fmla="*/ 1132 w 2266"/>
                <a:gd name="T3" fmla="*/ 0 h 2127"/>
                <a:gd name="T4" fmla="*/ 0 w 2266"/>
                <a:gd name="T5" fmla="*/ 1064 h 2127"/>
                <a:gd name="T6" fmla="*/ 7 w 2266"/>
                <a:gd name="T7" fmla="*/ 1134 h 2127"/>
                <a:gd name="T8" fmla="*/ 219 w 2266"/>
                <a:gd name="T9" fmla="*/ 1666 h 2127"/>
                <a:gd name="T10" fmla="*/ 1132 w 2266"/>
                <a:gd name="T11" fmla="*/ 2127 h 2127"/>
                <a:gd name="T12" fmla="*/ 141 w 2266"/>
                <a:gd name="T13" fmla="*/ 1204 h 2127"/>
                <a:gd name="T14" fmla="*/ 139 w 2266"/>
                <a:gd name="T15" fmla="*/ 1134 h 2127"/>
                <a:gd name="T16" fmla="*/ 141 w 2266"/>
                <a:gd name="T17" fmla="*/ 1064 h 2127"/>
                <a:gd name="T18" fmla="*/ 1132 w 2266"/>
                <a:gd name="T19" fmla="*/ 140 h 2127"/>
                <a:gd name="T20" fmla="*/ 2045 w 2266"/>
                <a:gd name="T21" fmla="*/ 602 h 2127"/>
                <a:gd name="T22" fmla="*/ 2257 w 2266"/>
                <a:gd name="T23" fmla="*/ 1134 h 2127"/>
                <a:gd name="T24" fmla="*/ 2264 w 2266"/>
                <a:gd name="T25" fmla="*/ 1204 h 2127"/>
                <a:gd name="T26" fmla="*/ 2266 w 2266"/>
                <a:gd name="T27" fmla="*/ 1134 h 2127"/>
                <a:gd name="T28" fmla="*/ 2264 w 2266"/>
                <a:gd name="T29" fmla="*/ 1064 h 2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66" h="2127">
                  <a:moveTo>
                    <a:pt x="2264" y="1064"/>
                  </a:moveTo>
                  <a:cubicBezTo>
                    <a:pt x="2227" y="470"/>
                    <a:pt x="1735" y="0"/>
                    <a:pt x="1132" y="0"/>
                  </a:cubicBezTo>
                  <a:cubicBezTo>
                    <a:pt x="529" y="0"/>
                    <a:pt x="37" y="470"/>
                    <a:pt x="0" y="1064"/>
                  </a:cubicBezTo>
                  <a:cubicBezTo>
                    <a:pt x="2" y="1087"/>
                    <a:pt x="4" y="1111"/>
                    <a:pt x="7" y="1134"/>
                  </a:cubicBezTo>
                  <a:cubicBezTo>
                    <a:pt x="31" y="1332"/>
                    <a:pt x="107" y="1513"/>
                    <a:pt x="219" y="1666"/>
                  </a:cubicBezTo>
                  <a:cubicBezTo>
                    <a:pt x="426" y="1946"/>
                    <a:pt x="757" y="2127"/>
                    <a:pt x="1132" y="2127"/>
                  </a:cubicBezTo>
                  <a:cubicBezTo>
                    <a:pt x="608" y="2127"/>
                    <a:pt x="177" y="1719"/>
                    <a:pt x="141" y="1204"/>
                  </a:cubicBezTo>
                  <a:cubicBezTo>
                    <a:pt x="139" y="1181"/>
                    <a:pt x="139" y="1157"/>
                    <a:pt x="139" y="1134"/>
                  </a:cubicBezTo>
                  <a:cubicBezTo>
                    <a:pt x="139" y="1110"/>
                    <a:pt x="139" y="1087"/>
                    <a:pt x="141" y="1064"/>
                  </a:cubicBezTo>
                  <a:cubicBezTo>
                    <a:pt x="177" y="548"/>
                    <a:pt x="608" y="140"/>
                    <a:pt x="1132" y="140"/>
                  </a:cubicBezTo>
                  <a:cubicBezTo>
                    <a:pt x="1506" y="140"/>
                    <a:pt x="1838" y="322"/>
                    <a:pt x="2045" y="602"/>
                  </a:cubicBezTo>
                  <a:cubicBezTo>
                    <a:pt x="2157" y="755"/>
                    <a:pt x="2233" y="937"/>
                    <a:pt x="2257" y="1134"/>
                  </a:cubicBezTo>
                  <a:cubicBezTo>
                    <a:pt x="2260" y="1157"/>
                    <a:pt x="2262" y="1181"/>
                    <a:pt x="2264" y="1204"/>
                  </a:cubicBezTo>
                  <a:cubicBezTo>
                    <a:pt x="2265" y="1181"/>
                    <a:pt x="2266" y="1157"/>
                    <a:pt x="2266" y="1134"/>
                  </a:cubicBezTo>
                  <a:cubicBezTo>
                    <a:pt x="2266" y="1110"/>
                    <a:pt x="2265" y="1087"/>
                    <a:pt x="2264" y="1064"/>
                  </a:cubicBezTo>
                </a:path>
              </a:pathLst>
            </a:custGeom>
            <a:solidFill>
              <a:srgbClr val="89D3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/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C1CC3DAB-FE9B-4CA9-9D8A-A5264BB936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50" y="642938"/>
              <a:ext cx="398463" cy="373062"/>
            </a:xfrm>
            <a:custGeom>
              <a:avLst/>
              <a:gdLst>
                <a:gd name="T0" fmla="*/ 2 w 2266"/>
                <a:gd name="T1" fmla="*/ 1064 h 2128"/>
                <a:gd name="T2" fmla="*/ 1134 w 2266"/>
                <a:gd name="T3" fmla="*/ 2128 h 2128"/>
                <a:gd name="T4" fmla="*/ 2266 w 2266"/>
                <a:gd name="T5" fmla="*/ 1064 h 2128"/>
                <a:gd name="T6" fmla="*/ 2259 w 2266"/>
                <a:gd name="T7" fmla="*/ 993 h 2128"/>
                <a:gd name="T8" fmla="*/ 2047 w 2266"/>
                <a:gd name="T9" fmla="*/ 462 h 2128"/>
                <a:gd name="T10" fmla="*/ 1134 w 2266"/>
                <a:gd name="T11" fmla="*/ 0 h 2128"/>
                <a:gd name="T12" fmla="*/ 2125 w 2266"/>
                <a:gd name="T13" fmla="*/ 924 h 2128"/>
                <a:gd name="T14" fmla="*/ 2127 w 2266"/>
                <a:gd name="T15" fmla="*/ 994 h 2128"/>
                <a:gd name="T16" fmla="*/ 2125 w 2266"/>
                <a:gd name="T17" fmla="*/ 1064 h 2128"/>
                <a:gd name="T18" fmla="*/ 1134 w 2266"/>
                <a:gd name="T19" fmla="*/ 1987 h 2128"/>
                <a:gd name="T20" fmla="*/ 221 w 2266"/>
                <a:gd name="T21" fmla="*/ 1526 h 2128"/>
                <a:gd name="T22" fmla="*/ 9 w 2266"/>
                <a:gd name="T23" fmla="*/ 993 h 2128"/>
                <a:gd name="T24" fmla="*/ 2 w 2266"/>
                <a:gd name="T25" fmla="*/ 924 h 2128"/>
                <a:gd name="T26" fmla="*/ 0 w 2266"/>
                <a:gd name="T27" fmla="*/ 994 h 2128"/>
                <a:gd name="T28" fmla="*/ 2 w 2266"/>
                <a:gd name="T29" fmla="*/ 1064 h 2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66" h="2128">
                  <a:moveTo>
                    <a:pt x="2" y="1064"/>
                  </a:moveTo>
                  <a:cubicBezTo>
                    <a:pt x="39" y="1658"/>
                    <a:pt x="531" y="2128"/>
                    <a:pt x="1134" y="2128"/>
                  </a:cubicBezTo>
                  <a:cubicBezTo>
                    <a:pt x="1737" y="2128"/>
                    <a:pt x="2229" y="1658"/>
                    <a:pt x="2266" y="1064"/>
                  </a:cubicBezTo>
                  <a:cubicBezTo>
                    <a:pt x="2264" y="1040"/>
                    <a:pt x="2262" y="1017"/>
                    <a:pt x="2259" y="993"/>
                  </a:cubicBezTo>
                  <a:cubicBezTo>
                    <a:pt x="2235" y="796"/>
                    <a:pt x="2159" y="614"/>
                    <a:pt x="2047" y="462"/>
                  </a:cubicBezTo>
                  <a:cubicBezTo>
                    <a:pt x="1840" y="182"/>
                    <a:pt x="1508" y="0"/>
                    <a:pt x="1134" y="0"/>
                  </a:cubicBezTo>
                  <a:cubicBezTo>
                    <a:pt x="1658" y="0"/>
                    <a:pt x="2089" y="408"/>
                    <a:pt x="2125" y="924"/>
                  </a:cubicBezTo>
                  <a:cubicBezTo>
                    <a:pt x="2126" y="947"/>
                    <a:pt x="2127" y="970"/>
                    <a:pt x="2127" y="994"/>
                  </a:cubicBezTo>
                  <a:cubicBezTo>
                    <a:pt x="2127" y="1017"/>
                    <a:pt x="2126" y="1041"/>
                    <a:pt x="2125" y="1064"/>
                  </a:cubicBezTo>
                  <a:cubicBezTo>
                    <a:pt x="2089" y="1579"/>
                    <a:pt x="1658" y="1987"/>
                    <a:pt x="1134" y="1987"/>
                  </a:cubicBezTo>
                  <a:cubicBezTo>
                    <a:pt x="759" y="1987"/>
                    <a:pt x="427" y="1806"/>
                    <a:pt x="221" y="1526"/>
                  </a:cubicBezTo>
                  <a:cubicBezTo>
                    <a:pt x="108" y="1373"/>
                    <a:pt x="33" y="1191"/>
                    <a:pt x="9" y="993"/>
                  </a:cubicBezTo>
                  <a:cubicBezTo>
                    <a:pt x="6" y="970"/>
                    <a:pt x="4" y="947"/>
                    <a:pt x="2" y="924"/>
                  </a:cubicBezTo>
                  <a:cubicBezTo>
                    <a:pt x="1" y="947"/>
                    <a:pt x="0" y="970"/>
                    <a:pt x="0" y="994"/>
                  </a:cubicBezTo>
                  <a:cubicBezTo>
                    <a:pt x="0" y="1017"/>
                    <a:pt x="1" y="1041"/>
                    <a:pt x="2" y="1064"/>
                  </a:cubicBezTo>
                </a:path>
              </a:pathLst>
            </a:custGeom>
            <a:solidFill>
              <a:srgbClr val="00B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F1218E6-2822-4E30-9853-C646C172D45E}"/>
                </a:ext>
              </a:extLst>
            </p:cNvPr>
            <p:cNvSpPr/>
            <p:nvPr userDrawn="1"/>
          </p:nvSpPr>
          <p:spPr>
            <a:xfrm>
              <a:off x="364331" y="648494"/>
              <a:ext cx="66675" cy="66675"/>
            </a:xfrm>
            <a:custGeom>
              <a:avLst/>
              <a:gdLst>
                <a:gd name="connsiteX0" fmla="*/ 20479 w 66675"/>
                <a:gd name="connsiteY0" fmla="*/ 29051 h 66675"/>
                <a:gd name="connsiteX1" fmla="*/ 44291 w 66675"/>
                <a:gd name="connsiteY1" fmla="*/ 29051 h 66675"/>
                <a:gd name="connsiteX2" fmla="*/ 49054 w 66675"/>
                <a:gd name="connsiteY2" fmla="*/ 24289 h 66675"/>
                <a:gd name="connsiteX3" fmla="*/ 44291 w 66675"/>
                <a:gd name="connsiteY3" fmla="*/ 19526 h 66675"/>
                <a:gd name="connsiteX4" fmla="*/ 20479 w 66675"/>
                <a:gd name="connsiteY4" fmla="*/ 19526 h 66675"/>
                <a:gd name="connsiteX5" fmla="*/ 20479 w 66675"/>
                <a:gd name="connsiteY5" fmla="*/ 29051 h 66675"/>
                <a:gd name="connsiteX6" fmla="*/ 20479 w 66675"/>
                <a:gd name="connsiteY6" fmla="*/ 29051 h 66675"/>
                <a:gd name="connsiteX7" fmla="*/ 20479 w 66675"/>
                <a:gd name="connsiteY7" fmla="*/ 29051 h 66675"/>
                <a:gd name="connsiteX8" fmla="*/ 20479 w 66675"/>
                <a:gd name="connsiteY8" fmla="*/ 51911 h 66675"/>
                <a:gd name="connsiteX9" fmla="*/ 45244 w 66675"/>
                <a:gd name="connsiteY9" fmla="*/ 51911 h 66675"/>
                <a:gd name="connsiteX10" fmla="*/ 50959 w 66675"/>
                <a:gd name="connsiteY10" fmla="*/ 46196 h 66675"/>
                <a:gd name="connsiteX11" fmla="*/ 45244 w 66675"/>
                <a:gd name="connsiteY11" fmla="*/ 40481 h 66675"/>
                <a:gd name="connsiteX12" fmla="*/ 20479 w 66675"/>
                <a:gd name="connsiteY12" fmla="*/ 40481 h 66675"/>
                <a:gd name="connsiteX13" fmla="*/ 20479 w 66675"/>
                <a:gd name="connsiteY13" fmla="*/ 51911 h 66675"/>
                <a:gd name="connsiteX14" fmla="*/ 20479 w 66675"/>
                <a:gd name="connsiteY14" fmla="*/ 51911 h 66675"/>
                <a:gd name="connsiteX15" fmla="*/ 20479 w 66675"/>
                <a:gd name="connsiteY15" fmla="*/ 51911 h 66675"/>
                <a:gd name="connsiteX16" fmla="*/ 59531 w 66675"/>
                <a:gd name="connsiteY16" fmla="*/ 34766 h 66675"/>
                <a:gd name="connsiteX17" fmla="*/ 64294 w 66675"/>
                <a:gd name="connsiteY17" fmla="*/ 47149 h 66675"/>
                <a:gd name="connsiteX18" fmla="*/ 47149 w 66675"/>
                <a:gd name="connsiteY18" fmla="*/ 64294 h 66675"/>
                <a:gd name="connsiteX19" fmla="*/ 7144 w 66675"/>
                <a:gd name="connsiteY19" fmla="*/ 64294 h 66675"/>
                <a:gd name="connsiteX20" fmla="*/ 7144 w 66675"/>
                <a:gd name="connsiteY20" fmla="*/ 7144 h 66675"/>
                <a:gd name="connsiteX21" fmla="*/ 46196 w 66675"/>
                <a:gd name="connsiteY21" fmla="*/ 7144 h 66675"/>
                <a:gd name="connsiteX22" fmla="*/ 62389 w 66675"/>
                <a:gd name="connsiteY22" fmla="*/ 24289 h 66675"/>
                <a:gd name="connsiteX23" fmla="*/ 59531 w 66675"/>
                <a:gd name="connsiteY23" fmla="*/ 34766 h 66675"/>
                <a:gd name="connsiteX24" fmla="*/ 59531 w 66675"/>
                <a:gd name="connsiteY24" fmla="*/ 3476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6675" h="66675">
                  <a:moveTo>
                    <a:pt x="20479" y="29051"/>
                  </a:moveTo>
                  <a:cubicBezTo>
                    <a:pt x="44291" y="29051"/>
                    <a:pt x="44291" y="29051"/>
                    <a:pt x="44291" y="29051"/>
                  </a:cubicBezTo>
                  <a:cubicBezTo>
                    <a:pt x="47149" y="29051"/>
                    <a:pt x="49054" y="27146"/>
                    <a:pt x="49054" y="24289"/>
                  </a:cubicBezTo>
                  <a:cubicBezTo>
                    <a:pt x="49054" y="21431"/>
                    <a:pt x="47149" y="19526"/>
                    <a:pt x="44291" y="19526"/>
                  </a:cubicBezTo>
                  <a:cubicBezTo>
                    <a:pt x="20479" y="19526"/>
                    <a:pt x="20479" y="19526"/>
                    <a:pt x="20479" y="19526"/>
                  </a:cubicBezTo>
                  <a:lnTo>
                    <a:pt x="20479" y="29051"/>
                  </a:lnTo>
                  <a:lnTo>
                    <a:pt x="20479" y="29051"/>
                  </a:lnTo>
                  <a:lnTo>
                    <a:pt x="20479" y="29051"/>
                  </a:lnTo>
                  <a:close/>
                  <a:moveTo>
                    <a:pt x="20479" y="51911"/>
                  </a:moveTo>
                  <a:cubicBezTo>
                    <a:pt x="45244" y="51911"/>
                    <a:pt x="45244" y="51911"/>
                    <a:pt x="45244" y="51911"/>
                  </a:cubicBezTo>
                  <a:cubicBezTo>
                    <a:pt x="48101" y="51911"/>
                    <a:pt x="50959" y="49054"/>
                    <a:pt x="50959" y="46196"/>
                  </a:cubicBezTo>
                  <a:cubicBezTo>
                    <a:pt x="50959" y="43339"/>
                    <a:pt x="49054" y="40481"/>
                    <a:pt x="45244" y="40481"/>
                  </a:cubicBezTo>
                  <a:cubicBezTo>
                    <a:pt x="20479" y="40481"/>
                    <a:pt x="20479" y="40481"/>
                    <a:pt x="20479" y="40481"/>
                  </a:cubicBezTo>
                  <a:lnTo>
                    <a:pt x="20479" y="51911"/>
                  </a:lnTo>
                  <a:lnTo>
                    <a:pt x="20479" y="51911"/>
                  </a:lnTo>
                  <a:lnTo>
                    <a:pt x="20479" y="51911"/>
                  </a:lnTo>
                  <a:close/>
                  <a:moveTo>
                    <a:pt x="59531" y="34766"/>
                  </a:moveTo>
                  <a:cubicBezTo>
                    <a:pt x="62389" y="37624"/>
                    <a:pt x="64294" y="42386"/>
                    <a:pt x="64294" y="47149"/>
                  </a:cubicBezTo>
                  <a:cubicBezTo>
                    <a:pt x="64294" y="56674"/>
                    <a:pt x="56674" y="64294"/>
                    <a:pt x="47149" y="64294"/>
                  </a:cubicBezTo>
                  <a:cubicBezTo>
                    <a:pt x="7144" y="64294"/>
                    <a:pt x="7144" y="64294"/>
                    <a:pt x="7144" y="64294"/>
                  </a:cubicBezTo>
                  <a:cubicBezTo>
                    <a:pt x="7144" y="7144"/>
                    <a:pt x="7144" y="7144"/>
                    <a:pt x="7144" y="7144"/>
                  </a:cubicBezTo>
                  <a:cubicBezTo>
                    <a:pt x="46196" y="7144"/>
                    <a:pt x="46196" y="7144"/>
                    <a:pt x="46196" y="7144"/>
                  </a:cubicBezTo>
                  <a:cubicBezTo>
                    <a:pt x="55721" y="7144"/>
                    <a:pt x="62389" y="14764"/>
                    <a:pt x="62389" y="24289"/>
                  </a:cubicBezTo>
                  <a:cubicBezTo>
                    <a:pt x="63341" y="28099"/>
                    <a:pt x="61436" y="31909"/>
                    <a:pt x="59531" y="34766"/>
                  </a:cubicBezTo>
                  <a:lnTo>
                    <a:pt x="59531" y="3476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196B99A6-B9EB-4966-BB19-78FE0C12885C}"/>
                </a:ext>
              </a:extLst>
            </p:cNvPr>
            <p:cNvSpPr/>
            <p:nvPr userDrawn="1"/>
          </p:nvSpPr>
          <p:spPr>
            <a:xfrm>
              <a:off x="354806" y="781844"/>
              <a:ext cx="76200" cy="66675"/>
            </a:xfrm>
            <a:custGeom>
              <a:avLst/>
              <a:gdLst>
                <a:gd name="connsiteX0" fmla="*/ 58579 w 76200"/>
                <a:gd name="connsiteY0" fmla="*/ 7144 h 66675"/>
                <a:gd name="connsiteX1" fmla="*/ 73819 w 76200"/>
                <a:gd name="connsiteY1" fmla="*/ 7144 h 66675"/>
                <a:gd name="connsiteX2" fmla="*/ 47149 w 76200"/>
                <a:gd name="connsiteY2" fmla="*/ 44291 h 66675"/>
                <a:gd name="connsiteX3" fmla="*/ 47149 w 76200"/>
                <a:gd name="connsiteY3" fmla="*/ 64294 h 66675"/>
                <a:gd name="connsiteX4" fmla="*/ 33814 w 76200"/>
                <a:gd name="connsiteY4" fmla="*/ 64294 h 66675"/>
                <a:gd name="connsiteX5" fmla="*/ 33814 w 76200"/>
                <a:gd name="connsiteY5" fmla="*/ 44291 h 66675"/>
                <a:gd name="connsiteX6" fmla="*/ 7144 w 76200"/>
                <a:gd name="connsiteY6" fmla="*/ 7144 h 66675"/>
                <a:gd name="connsiteX7" fmla="*/ 22384 w 76200"/>
                <a:gd name="connsiteY7" fmla="*/ 7144 h 66675"/>
                <a:gd name="connsiteX8" fmla="*/ 41434 w 76200"/>
                <a:gd name="connsiteY8" fmla="*/ 31909 h 66675"/>
                <a:gd name="connsiteX9" fmla="*/ 58579 w 76200"/>
                <a:gd name="connsiteY9" fmla="*/ 7144 h 66675"/>
                <a:gd name="connsiteX10" fmla="*/ 58579 w 76200"/>
                <a:gd name="connsiteY10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6200" h="66675">
                  <a:moveTo>
                    <a:pt x="58579" y="7144"/>
                  </a:moveTo>
                  <a:lnTo>
                    <a:pt x="73819" y="7144"/>
                  </a:lnTo>
                  <a:lnTo>
                    <a:pt x="47149" y="44291"/>
                  </a:lnTo>
                  <a:lnTo>
                    <a:pt x="47149" y="64294"/>
                  </a:lnTo>
                  <a:lnTo>
                    <a:pt x="33814" y="64294"/>
                  </a:lnTo>
                  <a:lnTo>
                    <a:pt x="33814" y="44291"/>
                  </a:lnTo>
                  <a:lnTo>
                    <a:pt x="7144" y="7144"/>
                  </a:lnTo>
                  <a:lnTo>
                    <a:pt x="22384" y="7144"/>
                  </a:lnTo>
                  <a:lnTo>
                    <a:pt x="41434" y="31909"/>
                  </a:lnTo>
                  <a:lnTo>
                    <a:pt x="58579" y="7144"/>
                  </a:lnTo>
                  <a:lnTo>
                    <a:pt x="58579" y="71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5BE4D186-E30F-42CA-831E-F7473E463F5F}"/>
                </a:ext>
              </a:extLst>
            </p:cNvPr>
            <p:cNvSpPr/>
            <p:nvPr userDrawn="1"/>
          </p:nvSpPr>
          <p:spPr>
            <a:xfrm>
              <a:off x="431006" y="781844"/>
              <a:ext cx="57150" cy="66675"/>
            </a:xfrm>
            <a:custGeom>
              <a:avLst/>
              <a:gdLst>
                <a:gd name="connsiteX0" fmla="*/ 54769 w 57150"/>
                <a:gd name="connsiteY0" fmla="*/ 7144 h 66675"/>
                <a:gd name="connsiteX1" fmla="*/ 54769 w 57150"/>
                <a:gd name="connsiteY1" fmla="*/ 18574 h 66675"/>
                <a:gd name="connsiteX2" fmla="*/ 19526 w 57150"/>
                <a:gd name="connsiteY2" fmla="*/ 18574 h 66675"/>
                <a:gd name="connsiteX3" fmla="*/ 19526 w 57150"/>
                <a:gd name="connsiteY3" fmla="*/ 29051 h 66675"/>
                <a:gd name="connsiteX4" fmla="*/ 54769 w 57150"/>
                <a:gd name="connsiteY4" fmla="*/ 29051 h 66675"/>
                <a:gd name="connsiteX5" fmla="*/ 54769 w 57150"/>
                <a:gd name="connsiteY5" fmla="*/ 40481 h 66675"/>
                <a:gd name="connsiteX6" fmla="*/ 19526 w 57150"/>
                <a:gd name="connsiteY6" fmla="*/ 40481 h 66675"/>
                <a:gd name="connsiteX7" fmla="*/ 19526 w 57150"/>
                <a:gd name="connsiteY7" fmla="*/ 52864 h 66675"/>
                <a:gd name="connsiteX8" fmla="*/ 54769 w 57150"/>
                <a:gd name="connsiteY8" fmla="*/ 52864 h 66675"/>
                <a:gd name="connsiteX9" fmla="*/ 54769 w 57150"/>
                <a:gd name="connsiteY9" fmla="*/ 64294 h 66675"/>
                <a:gd name="connsiteX10" fmla="*/ 7144 w 57150"/>
                <a:gd name="connsiteY10" fmla="*/ 64294 h 66675"/>
                <a:gd name="connsiteX11" fmla="*/ 7144 w 57150"/>
                <a:gd name="connsiteY11" fmla="*/ 7144 h 66675"/>
                <a:gd name="connsiteX12" fmla="*/ 54769 w 57150"/>
                <a:gd name="connsiteY12" fmla="*/ 7144 h 66675"/>
                <a:gd name="connsiteX13" fmla="*/ 54769 w 57150"/>
                <a:gd name="connsiteY13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66675">
                  <a:moveTo>
                    <a:pt x="54769" y="7144"/>
                  </a:moveTo>
                  <a:lnTo>
                    <a:pt x="54769" y="18574"/>
                  </a:lnTo>
                  <a:lnTo>
                    <a:pt x="19526" y="18574"/>
                  </a:lnTo>
                  <a:lnTo>
                    <a:pt x="19526" y="29051"/>
                  </a:lnTo>
                  <a:lnTo>
                    <a:pt x="54769" y="29051"/>
                  </a:lnTo>
                  <a:lnTo>
                    <a:pt x="54769" y="40481"/>
                  </a:lnTo>
                  <a:lnTo>
                    <a:pt x="19526" y="40481"/>
                  </a:lnTo>
                  <a:lnTo>
                    <a:pt x="19526" y="52864"/>
                  </a:lnTo>
                  <a:lnTo>
                    <a:pt x="54769" y="52864"/>
                  </a:lnTo>
                  <a:lnTo>
                    <a:pt x="54769" y="64294"/>
                  </a:lnTo>
                  <a:lnTo>
                    <a:pt x="7144" y="64294"/>
                  </a:lnTo>
                  <a:lnTo>
                    <a:pt x="7144" y="7144"/>
                  </a:lnTo>
                  <a:lnTo>
                    <a:pt x="54769" y="7144"/>
                  </a:lnTo>
                  <a:lnTo>
                    <a:pt x="54769" y="71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34281C2E-BC26-4A62-87BA-DFE10017AA1B}"/>
                </a:ext>
              </a:extLst>
            </p:cNvPr>
            <p:cNvSpPr/>
            <p:nvPr userDrawn="1"/>
          </p:nvSpPr>
          <p:spPr>
            <a:xfrm>
              <a:off x="497681" y="781844"/>
              <a:ext cx="66675" cy="66675"/>
            </a:xfrm>
            <a:custGeom>
              <a:avLst/>
              <a:gdLst>
                <a:gd name="connsiteX0" fmla="*/ 30956 w 66675"/>
                <a:gd name="connsiteY0" fmla="*/ 42386 h 66675"/>
                <a:gd name="connsiteX1" fmla="*/ 20479 w 66675"/>
                <a:gd name="connsiteY1" fmla="*/ 42386 h 66675"/>
                <a:gd name="connsiteX2" fmla="*/ 20479 w 66675"/>
                <a:gd name="connsiteY2" fmla="*/ 64294 h 66675"/>
                <a:gd name="connsiteX3" fmla="*/ 7144 w 66675"/>
                <a:gd name="connsiteY3" fmla="*/ 64294 h 66675"/>
                <a:gd name="connsiteX4" fmla="*/ 7144 w 66675"/>
                <a:gd name="connsiteY4" fmla="*/ 7144 h 66675"/>
                <a:gd name="connsiteX5" fmla="*/ 42386 w 66675"/>
                <a:gd name="connsiteY5" fmla="*/ 7144 h 66675"/>
                <a:gd name="connsiteX6" fmla="*/ 60484 w 66675"/>
                <a:gd name="connsiteY6" fmla="*/ 25241 h 66675"/>
                <a:gd name="connsiteX7" fmla="*/ 47149 w 66675"/>
                <a:gd name="connsiteY7" fmla="*/ 42386 h 66675"/>
                <a:gd name="connsiteX8" fmla="*/ 64294 w 66675"/>
                <a:gd name="connsiteY8" fmla="*/ 64294 h 66675"/>
                <a:gd name="connsiteX9" fmla="*/ 48101 w 66675"/>
                <a:gd name="connsiteY9" fmla="*/ 64294 h 66675"/>
                <a:gd name="connsiteX10" fmla="*/ 30956 w 66675"/>
                <a:gd name="connsiteY10" fmla="*/ 42386 h 66675"/>
                <a:gd name="connsiteX11" fmla="*/ 30956 w 66675"/>
                <a:gd name="connsiteY11" fmla="*/ 42386 h 66675"/>
                <a:gd name="connsiteX12" fmla="*/ 30956 w 66675"/>
                <a:gd name="connsiteY12" fmla="*/ 42386 h 66675"/>
                <a:gd name="connsiteX13" fmla="*/ 40481 w 66675"/>
                <a:gd name="connsiteY13" fmla="*/ 19526 h 66675"/>
                <a:gd name="connsiteX14" fmla="*/ 20479 w 66675"/>
                <a:gd name="connsiteY14" fmla="*/ 19526 h 66675"/>
                <a:gd name="connsiteX15" fmla="*/ 20479 w 66675"/>
                <a:gd name="connsiteY15" fmla="*/ 30004 h 66675"/>
                <a:gd name="connsiteX16" fmla="*/ 40481 w 66675"/>
                <a:gd name="connsiteY16" fmla="*/ 30004 h 66675"/>
                <a:gd name="connsiteX17" fmla="*/ 46196 w 66675"/>
                <a:gd name="connsiteY17" fmla="*/ 24289 h 66675"/>
                <a:gd name="connsiteX18" fmla="*/ 40481 w 66675"/>
                <a:gd name="connsiteY18" fmla="*/ 19526 h 66675"/>
                <a:gd name="connsiteX19" fmla="*/ 40481 w 66675"/>
                <a:gd name="connsiteY19" fmla="*/ 1952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6675" h="66675">
                  <a:moveTo>
                    <a:pt x="30956" y="42386"/>
                  </a:moveTo>
                  <a:cubicBezTo>
                    <a:pt x="20479" y="42386"/>
                    <a:pt x="20479" y="42386"/>
                    <a:pt x="20479" y="42386"/>
                  </a:cubicBezTo>
                  <a:cubicBezTo>
                    <a:pt x="20479" y="64294"/>
                    <a:pt x="20479" y="64294"/>
                    <a:pt x="20479" y="64294"/>
                  </a:cubicBezTo>
                  <a:cubicBezTo>
                    <a:pt x="7144" y="64294"/>
                    <a:pt x="7144" y="64294"/>
                    <a:pt x="7144" y="64294"/>
                  </a:cubicBezTo>
                  <a:cubicBezTo>
                    <a:pt x="7144" y="7144"/>
                    <a:pt x="7144" y="7144"/>
                    <a:pt x="7144" y="7144"/>
                  </a:cubicBezTo>
                  <a:cubicBezTo>
                    <a:pt x="42386" y="7144"/>
                    <a:pt x="42386" y="7144"/>
                    <a:pt x="42386" y="7144"/>
                  </a:cubicBezTo>
                  <a:cubicBezTo>
                    <a:pt x="51911" y="7144"/>
                    <a:pt x="60484" y="14764"/>
                    <a:pt x="60484" y="25241"/>
                  </a:cubicBezTo>
                  <a:cubicBezTo>
                    <a:pt x="60484" y="32861"/>
                    <a:pt x="54769" y="39529"/>
                    <a:pt x="47149" y="42386"/>
                  </a:cubicBezTo>
                  <a:cubicBezTo>
                    <a:pt x="64294" y="64294"/>
                    <a:pt x="64294" y="64294"/>
                    <a:pt x="64294" y="64294"/>
                  </a:cubicBezTo>
                  <a:cubicBezTo>
                    <a:pt x="48101" y="64294"/>
                    <a:pt x="48101" y="64294"/>
                    <a:pt x="48101" y="64294"/>
                  </a:cubicBezTo>
                  <a:lnTo>
                    <a:pt x="30956" y="42386"/>
                  </a:lnTo>
                  <a:lnTo>
                    <a:pt x="30956" y="42386"/>
                  </a:lnTo>
                  <a:lnTo>
                    <a:pt x="30956" y="42386"/>
                  </a:lnTo>
                  <a:close/>
                  <a:moveTo>
                    <a:pt x="40481" y="19526"/>
                  </a:moveTo>
                  <a:cubicBezTo>
                    <a:pt x="20479" y="19526"/>
                    <a:pt x="20479" y="19526"/>
                    <a:pt x="20479" y="19526"/>
                  </a:cubicBezTo>
                  <a:cubicBezTo>
                    <a:pt x="20479" y="30004"/>
                    <a:pt x="20479" y="30004"/>
                    <a:pt x="20479" y="30004"/>
                  </a:cubicBezTo>
                  <a:cubicBezTo>
                    <a:pt x="40481" y="30004"/>
                    <a:pt x="40481" y="30004"/>
                    <a:pt x="40481" y="30004"/>
                  </a:cubicBezTo>
                  <a:cubicBezTo>
                    <a:pt x="43339" y="30004"/>
                    <a:pt x="46196" y="27146"/>
                    <a:pt x="46196" y="24289"/>
                  </a:cubicBezTo>
                  <a:cubicBezTo>
                    <a:pt x="46196" y="21431"/>
                    <a:pt x="44291" y="19526"/>
                    <a:pt x="40481" y="19526"/>
                  </a:cubicBezTo>
                  <a:lnTo>
                    <a:pt x="40481" y="1952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BFD3C206-71AA-4FD0-A35B-721C051E987A}"/>
                </a:ext>
              </a:extLst>
            </p:cNvPr>
            <p:cNvSpPr/>
            <p:nvPr userDrawn="1"/>
          </p:nvSpPr>
          <p:spPr>
            <a:xfrm>
              <a:off x="292894" y="781844"/>
              <a:ext cx="76200" cy="66675"/>
            </a:xfrm>
            <a:custGeom>
              <a:avLst/>
              <a:gdLst>
                <a:gd name="connsiteX0" fmla="*/ 73819 w 76200"/>
                <a:gd name="connsiteY0" fmla="*/ 64294 h 66675"/>
                <a:gd name="connsiteX1" fmla="*/ 59531 w 76200"/>
                <a:gd name="connsiteY1" fmla="*/ 64294 h 66675"/>
                <a:gd name="connsiteX2" fmla="*/ 54769 w 76200"/>
                <a:gd name="connsiteY2" fmla="*/ 53816 h 66675"/>
                <a:gd name="connsiteX3" fmla="*/ 25241 w 76200"/>
                <a:gd name="connsiteY3" fmla="*/ 53816 h 66675"/>
                <a:gd name="connsiteX4" fmla="*/ 21431 w 76200"/>
                <a:gd name="connsiteY4" fmla="*/ 64294 h 66675"/>
                <a:gd name="connsiteX5" fmla="*/ 7144 w 76200"/>
                <a:gd name="connsiteY5" fmla="*/ 64294 h 66675"/>
                <a:gd name="connsiteX6" fmla="*/ 33814 w 76200"/>
                <a:gd name="connsiteY6" fmla="*/ 7144 h 66675"/>
                <a:gd name="connsiteX7" fmla="*/ 46196 w 76200"/>
                <a:gd name="connsiteY7" fmla="*/ 7144 h 66675"/>
                <a:gd name="connsiteX8" fmla="*/ 73819 w 76200"/>
                <a:gd name="connsiteY8" fmla="*/ 64294 h 66675"/>
                <a:gd name="connsiteX9" fmla="*/ 73819 w 76200"/>
                <a:gd name="connsiteY9" fmla="*/ 64294 h 66675"/>
                <a:gd name="connsiteX10" fmla="*/ 73819 w 76200"/>
                <a:gd name="connsiteY10" fmla="*/ 64294 h 66675"/>
                <a:gd name="connsiteX11" fmla="*/ 39529 w 76200"/>
                <a:gd name="connsiteY11" fmla="*/ 20479 h 66675"/>
                <a:gd name="connsiteX12" fmla="*/ 30004 w 76200"/>
                <a:gd name="connsiteY12" fmla="*/ 42386 h 66675"/>
                <a:gd name="connsiteX13" fmla="*/ 49054 w 76200"/>
                <a:gd name="connsiteY13" fmla="*/ 42386 h 66675"/>
                <a:gd name="connsiteX14" fmla="*/ 39529 w 76200"/>
                <a:gd name="connsiteY14" fmla="*/ 20479 h 66675"/>
                <a:gd name="connsiteX15" fmla="*/ 39529 w 76200"/>
                <a:gd name="connsiteY15" fmla="*/ 20479 h 66675"/>
                <a:gd name="connsiteX16" fmla="*/ 39529 w 76200"/>
                <a:gd name="connsiteY16" fmla="*/ 20479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200" h="66675">
                  <a:moveTo>
                    <a:pt x="73819" y="64294"/>
                  </a:moveTo>
                  <a:lnTo>
                    <a:pt x="59531" y="64294"/>
                  </a:lnTo>
                  <a:lnTo>
                    <a:pt x="54769" y="53816"/>
                  </a:lnTo>
                  <a:lnTo>
                    <a:pt x="25241" y="53816"/>
                  </a:lnTo>
                  <a:lnTo>
                    <a:pt x="21431" y="64294"/>
                  </a:lnTo>
                  <a:lnTo>
                    <a:pt x="7144" y="64294"/>
                  </a:lnTo>
                  <a:lnTo>
                    <a:pt x="33814" y="7144"/>
                  </a:lnTo>
                  <a:lnTo>
                    <a:pt x="46196" y="7144"/>
                  </a:lnTo>
                  <a:lnTo>
                    <a:pt x="73819" y="64294"/>
                  </a:lnTo>
                  <a:lnTo>
                    <a:pt x="73819" y="64294"/>
                  </a:lnTo>
                  <a:lnTo>
                    <a:pt x="73819" y="64294"/>
                  </a:lnTo>
                  <a:close/>
                  <a:moveTo>
                    <a:pt x="39529" y="20479"/>
                  </a:moveTo>
                  <a:lnTo>
                    <a:pt x="30004" y="42386"/>
                  </a:lnTo>
                  <a:lnTo>
                    <a:pt x="49054" y="42386"/>
                  </a:lnTo>
                  <a:lnTo>
                    <a:pt x="39529" y="20479"/>
                  </a:lnTo>
                  <a:lnTo>
                    <a:pt x="39529" y="20479"/>
                  </a:lnTo>
                  <a:lnTo>
                    <a:pt x="39529" y="204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715CA963-C202-490B-948A-C585A4E26515}"/>
                </a:ext>
              </a:extLst>
            </p:cNvPr>
            <p:cNvSpPr/>
            <p:nvPr userDrawn="1"/>
          </p:nvSpPr>
          <p:spPr>
            <a:xfrm>
              <a:off x="354806" y="715169"/>
              <a:ext cx="76200" cy="66675"/>
            </a:xfrm>
            <a:custGeom>
              <a:avLst/>
              <a:gdLst>
                <a:gd name="connsiteX0" fmla="*/ 73819 w 76200"/>
                <a:gd name="connsiteY0" fmla="*/ 64294 h 66675"/>
                <a:gd name="connsiteX1" fmla="*/ 59531 w 76200"/>
                <a:gd name="connsiteY1" fmla="*/ 64294 h 66675"/>
                <a:gd name="connsiteX2" fmla="*/ 54769 w 76200"/>
                <a:gd name="connsiteY2" fmla="*/ 53816 h 66675"/>
                <a:gd name="connsiteX3" fmla="*/ 25241 w 76200"/>
                <a:gd name="connsiteY3" fmla="*/ 53816 h 66675"/>
                <a:gd name="connsiteX4" fmla="*/ 21431 w 76200"/>
                <a:gd name="connsiteY4" fmla="*/ 64294 h 66675"/>
                <a:gd name="connsiteX5" fmla="*/ 7144 w 76200"/>
                <a:gd name="connsiteY5" fmla="*/ 64294 h 66675"/>
                <a:gd name="connsiteX6" fmla="*/ 33814 w 76200"/>
                <a:gd name="connsiteY6" fmla="*/ 7144 h 66675"/>
                <a:gd name="connsiteX7" fmla="*/ 46196 w 76200"/>
                <a:gd name="connsiteY7" fmla="*/ 7144 h 66675"/>
                <a:gd name="connsiteX8" fmla="*/ 73819 w 76200"/>
                <a:gd name="connsiteY8" fmla="*/ 64294 h 66675"/>
                <a:gd name="connsiteX9" fmla="*/ 73819 w 76200"/>
                <a:gd name="connsiteY9" fmla="*/ 64294 h 66675"/>
                <a:gd name="connsiteX10" fmla="*/ 73819 w 76200"/>
                <a:gd name="connsiteY10" fmla="*/ 64294 h 66675"/>
                <a:gd name="connsiteX11" fmla="*/ 39529 w 76200"/>
                <a:gd name="connsiteY11" fmla="*/ 20479 h 66675"/>
                <a:gd name="connsiteX12" fmla="*/ 30004 w 76200"/>
                <a:gd name="connsiteY12" fmla="*/ 42386 h 66675"/>
                <a:gd name="connsiteX13" fmla="*/ 49054 w 76200"/>
                <a:gd name="connsiteY13" fmla="*/ 42386 h 66675"/>
                <a:gd name="connsiteX14" fmla="*/ 39529 w 76200"/>
                <a:gd name="connsiteY14" fmla="*/ 20479 h 66675"/>
                <a:gd name="connsiteX15" fmla="*/ 39529 w 76200"/>
                <a:gd name="connsiteY15" fmla="*/ 20479 h 66675"/>
                <a:gd name="connsiteX16" fmla="*/ 39529 w 76200"/>
                <a:gd name="connsiteY16" fmla="*/ 20479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200" h="66675">
                  <a:moveTo>
                    <a:pt x="73819" y="64294"/>
                  </a:moveTo>
                  <a:lnTo>
                    <a:pt x="59531" y="64294"/>
                  </a:lnTo>
                  <a:lnTo>
                    <a:pt x="54769" y="53816"/>
                  </a:lnTo>
                  <a:lnTo>
                    <a:pt x="25241" y="53816"/>
                  </a:lnTo>
                  <a:lnTo>
                    <a:pt x="21431" y="64294"/>
                  </a:lnTo>
                  <a:lnTo>
                    <a:pt x="7144" y="64294"/>
                  </a:lnTo>
                  <a:lnTo>
                    <a:pt x="33814" y="7144"/>
                  </a:lnTo>
                  <a:lnTo>
                    <a:pt x="46196" y="7144"/>
                  </a:lnTo>
                  <a:lnTo>
                    <a:pt x="73819" y="64294"/>
                  </a:lnTo>
                  <a:lnTo>
                    <a:pt x="73819" y="64294"/>
                  </a:lnTo>
                  <a:lnTo>
                    <a:pt x="73819" y="64294"/>
                  </a:lnTo>
                  <a:close/>
                  <a:moveTo>
                    <a:pt x="39529" y="20479"/>
                  </a:moveTo>
                  <a:lnTo>
                    <a:pt x="30004" y="42386"/>
                  </a:lnTo>
                  <a:lnTo>
                    <a:pt x="49054" y="42386"/>
                  </a:lnTo>
                  <a:lnTo>
                    <a:pt x="39529" y="20479"/>
                  </a:lnTo>
                  <a:lnTo>
                    <a:pt x="39529" y="20479"/>
                  </a:lnTo>
                  <a:lnTo>
                    <a:pt x="39529" y="204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30F61BE7-DE17-4BA5-812D-EF3A5DE050FB}"/>
                </a:ext>
              </a:extLst>
            </p:cNvPr>
            <p:cNvSpPr/>
            <p:nvPr userDrawn="1"/>
          </p:nvSpPr>
          <p:spPr>
            <a:xfrm>
              <a:off x="230981" y="781844"/>
              <a:ext cx="66675" cy="66675"/>
            </a:xfrm>
            <a:custGeom>
              <a:avLst/>
              <a:gdLst>
                <a:gd name="connsiteX0" fmla="*/ 20479 w 66675"/>
                <a:gd name="connsiteY0" fmla="*/ 29051 h 66675"/>
                <a:gd name="connsiteX1" fmla="*/ 44291 w 66675"/>
                <a:gd name="connsiteY1" fmla="*/ 29051 h 66675"/>
                <a:gd name="connsiteX2" fmla="*/ 49054 w 66675"/>
                <a:gd name="connsiteY2" fmla="*/ 24289 h 66675"/>
                <a:gd name="connsiteX3" fmla="*/ 44291 w 66675"/>
                <a:gd name="connsiteY3" fmla="*/ 19526 h 66675"/>
                <a:gd name="connsiteX4" fmla="*/ 20479 w 66675"/>
                <a:gd name="connsiteY4" fmla="*/ 19526 h 66675"/>
                <a:gd name="connsiteX5" fmla="*/ 20479 w 66675"/>
                <a:gd name="connsiteY5" fmla="*/ 29051 h 66675"/>
                <a:gd name="connsiteX6" fmla="*/ 20479 w 66675"/>
                <a:gd name="connsiteY6" fmla="*/ 29051 h 66675"/>
                <a:gd name="connsiteX7" fmla="*/ 20479 w 66675"/>
                <a:gd name="connsiteY7" fmla="*/ 29051 h 66675"/>
                <a:gd name="connsiteX8" fmla="*/ 20479 w 66675"/>
                <a:gd name="connsiteY8" fmla="*/ 51911 h 66675"/>
                <a:gd name="connsiteX9" fmla="*/ 45244 w 66675"/>
                <a:gd name="connsiteY9" fmla="*/ 51911 h 66675"/>
                <a:gd name="connsiteX10" fmla="*/ 50959 w 66675"/>
                <a:gd name="connsiteY10" fmla="*/ 46196 h 66675"/>
                <a:gd name="connsiteX11" fmla="*/ 45244 w 66675"/>
                <a:gd name="connsiteY11" fmla="*/ 40481 h 66675"/>
                <a:gd name="connsiteX12" fmla="*/ 20479 w 66675"/>
                <a:gd name="connsiteY12" fmla="*/ 40481 h 66675"/>
                <a:gd name="connsiteX13" fmla="*/ 20479 w 66675"/>
                <a:gd name="connsiteY13" fmla="*/ 51911 h 66675"/>
                <a:gd name="connsiteX14" fmla="*/ 20479 w 66675"/>
                <a:gd name="connsiteY14" fmla="*/ 51911 h 66675"/>
                <a:gd name="connsiteX15" fmla="*/ 20479 w 66675"/>
                <a:gd name="connsiteY15" fmla="*/ 51911 h 66675"/>
                <a:gd name="connsiteX16" fmla="*/ 58579 w 66675"/>
                <a:gd name="connsiteY16" fmla="*/ 34766 h 66675"/>
                <a:gd name="connsiteX17" fmla="*/ 64294 w 66675"/>
                <a:gd name="connsiteY17" fmla="*/ 47149 h 66675"/>
                <a:gd name="connsiteX18" fmla="*/ 47149 w 66675"/>
                <a:gd name="connsiteY18" fmla="*/ 64294 h 66675"/>
                <a:gd name="connsiteX19" fmla="*/ 7144 w 66675"/>
                <a:gd name="connsiteY19" fmla="*/ 64294 h 66675"/>
                <a:gd name="connsiteX20" fmla="*/ 7144 w 66675"/>
                <a:gd name="connsiteY20" fmla="*/ 7144 h 66675"/>
                <a:gd name="connsiteX21" fmla="*/ 46196 w 66675"/>
                <a:gd name="connsiteY21" fmla="*/ 7144 h 66675"/>
                <a:gd name="connsiteX22" fmla="*/ 62389 w 66675"/>
                <a:gd name="connsiteY22" fmla="*/ 24289 h 66675"/>
                <a:gd name="connsiteX23" fmla="*/ 58579 w 66675"/>
                <a:gd name="connsiteY23" fmla="*/ 34766 h 66675"/>
                <a:gd name="connsiteX24" fmla="*/ 58579 w 66675"/>
                <a:gd name="connsiteY24" fmla="*/ 3476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6675" h="66675">
                  <a:moveTo>
                    <a:pt x="20479" y="29051"/>
                  </a:moveTo>
                  <a:cubicBezTo>
                    <a:pt x="44291" y="29051"/>
                    <a:pt x="44291" y="29051"/>
                    <a:pt x="44291" y="29051"/>
                  </a:cubicBezTo>
                  <a:cubicBezTo>
                    <a:pt x="47149" y="29051"/>
                    <a:pt x="49054" y="27146"/>
                    <a:pt x="49054" y="24289"/>
                  </a:cubicBezTo>
                  <a:cubicBezTo>
                    <a:pt x="49054" y="21431"/>
                    <a:pt x="47149" y="19526"/>
                    <a:pt x="44291" y="19526"/>
                  </a:cubicBezTo>
                  <a:cubicBezTo>
                    <a:pt x="20479" y="19526"/>
                    <a:pt x="20479" y="19526"/>
                    <a:pt x="20479" y="19526"/>
                  </a:cubicBezTo>
                  <a:lnTo>
                    <a:pt x="20479" y="29051"/>
                  </a:lnTo>
                  <a:lnTo>
                    <a:pt x="20479" y="29051"/>
                  </a:lnTo>
                  <a:lnTo>
                    <a:pt x="20479" y="29051"/>
                  </a:lnTo>
                  <a:close/>
                  <a:moveTo>
                    <a:pt x="20479" y="51911"/>
                  </a:moveTo>
                  <a:cubicBezTo>
                    <a:pt x="45244" y="51911"/>
                    <a:pt x="45244" y="51911"/>
                    <a:pt x="45244" y="51911"/>
                  </a:cubicBezTo>
                  <a:cubicBezTo>
                    <a:pt x="48101" y="51911"/>
                    <a:pt x="50959" y="49054"/>
                    <a:pt x="50959" y="46196"/>
                  </a:cubicBezTo>
                  <a:cubicBezTo>
                    <a:pt x="50959" y="43339"/>
                    <a:pt x="48101" y="40481"/>
                    <a:pt x="45244" y="40481"/>
                  </a:cubicBezTo>
                  <a:cubicBezTo>
                    <a:pt x="20479" y="40481"/>
                    <a:pt x="20479" y="40481"/>
                    <a:pt x="20479" y="40481"/>
                  </a:cubicBezTo>
                  <a:lnTo>
                    <a:pt x="20479" y="51911"/>
                  </a:lnTo>
                  <a:lnTo>
                    <a:pt x="20479" y="51911"/>
                  </a:lnTo>
                  <a:lnTo>
                    <a:pt x="20479" y="51911"/>
                  </a:lnTo>
                  <a:close/>
                  <a:moveTo>
                    <a:pt x="58579" y="34766"/>
                  </a:moveTo>
                  <a:cubicBezTo>
                    <a:pt x="62389" y="37624"/>
                    <a:pt x="64294" y="42386"/>
                    <a:pt x="64294" y="47149"/>
                  </a:cubicBezTo>
                  <a:cubicBezTo>
                    <a:pt x="64294" y="56674"/>
                    <a:pt x="56674" y="64294"/>
                    <a:pt x="47149" y="64294"/>
                  </a:cubicBezTo>
                  <a:cubicBezTo>
                    <a:pt x="7144" y="64294"/>
                    <a:pt x="7144" y="64294"/>
                    <a:pt x="7144" y="64294"/>
                  </a:cubicBezTo>
                  <a:cubicBezTo>
                    <a:pt x="7144" y="7144"/>
                    <a:pt x="7144" y="7144"/>
                    <a:pt x="7144" y="7144"/>
                  </a:cubicBezTo>
                  <a:cubicBezTo>
                    <a:pt x="46196" y="7144"/>
                    <a:pt x="46196" y="7144"/>
                    <a:pt x="46196" y="7144"/>
                  </a:cubicBezTo>
                  <a:cubicBezTo>
                    <a:pt x="55721" y="7144"/>
                    <a:pt x="62389" y="14764"/>
                    <a:pt x="62389" y="24289"/>
                  </a:cubicBezTo>
                  <a:cubicBezTo>
                    <a:pt x="63341" y="28099"/>
                    <a:pt x="61436" y="31909"/>
                    <a:pt x="58579" y="34766"/>
                  </a:cubicBezTo>
                  <a:lnTo>
                    <a:pt x="58579" y="3476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16732DEB-8EFE-4BC1-ABFB-1233D1254218}"/>
                </a:ext>
              </a:extLst>
            </p:cNvPr>
            <p:cNvSpPr/>
            <p:nvPr userDrawn="1"/>
          </p:nvSpPr>
          <p:spPr>
            <a:xfrm>
              <a:off x="364331" y="848519"/>
              <a:ext cx="57150" cy="66675"/>
            </a:xfrm>
            <a:custGeom>
              <a:avLst/>
              <a:gdLst>
                <a:gd name="connsiteX0" fmla="*/ 54769 w 57150"/>
                <a:gd name="connsiteY0" fmla="*/ 7144 h 66675"/>
                <a:gd name="connsiteX1" fmla="*/ 54769 w 57150"/>
                <a:gd name="connsiteY1" fmla="*/ 18574 h 66675"/>
                <a:gd name="connsiteX2" fmla="*/ 19526 w 57150"/>
                <a:gd name="connsiteY2" fmla="*/ 18574 h 66675"/>
                <a:gd name="connsiteX3" fmla="*/ 19526 w 57150"/>
                <a:gd name="connsiteY3" fmla="*/ 29051 h 66675"/>
                <a:gd name="connsiteX4" fmla="*/ 52864 w 57150"/>
                <a:gd name="connsiteY4" fmla="*/ 29051 h 66675"/>
                <a:gd name="connsiteX5" fmla="*/ 52864 w 57150"/>
                <a:gd name="connsiteY5" fmla="*/ 40481 h 66675"/>
                <a:gd name="connsiteX6" fmla="*/ 19526 w 57150"/>
                <a:gd name="connsiteY6" fmla="*/ 40481 h 66675"/>
                <a:gd name="connsiteX7" fmla="*/ 19526 w 57150"/>
                <a:gd name="connsiteY7" fmla="*/ 52864 h 66675"/>
                <a:gd name="connsiteX8" fmla="*/ 54769 w 57150"/>
                <a:gd name="connsiteY8" fmla="*/ 52864 h 66675"/>
                <a:gd name="connsiteX9" fmla="*/ 54769 w 57150"/>
                <a:gd name="connsiteY9" fmla="*/ 64294 h 66675"/>
                <a:gd name="connsiteX10" fmla="*/ 7144 w 57150"/>
                <a:gd name="connsiteY10" fmla="*/ 64294 h 66675"/>
                <a:gd name="connsiteX11" fmla="*/ 7144 w 57150"/>
                <a:gd name="connsiteY11" fmla="*/ 7144 h 66675"/>
                <a:gd name="connsiteX12" fmla="*/ 54769 w 57150"/>
                <a:gd name="connsiteY12" fmla="*/ 7144 h 66675"/>
                <a:gd name="connsiteX13" fmla="*/ 54769 w 57150"/>
                <a:gd name="connsiteY13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66675">
                  <a:moveTo>
                    <a:pt x="54769" y="7144"/>
                  </a:moveTo>
                  <a:lnTo>
                    <a:pt x="54769" y="18574"/>
                  </a:lnTo>
                  <a:lnTo>
                    <a:pt x="19526" y="18574"/>
                  </a:lnTo>
                  <a:lnTo>
                    <a:pt x="19526" y="29051"/>
                  </a:lnTo>
                  <a:lnTo>
                    <a:pt x="52864" y="29051"/>
                  </a:lnTo>
                  <a:lnTo>
                    <a:pt x="52864" y="40481"/>
                  </a:lnTo>
                  <a:lnTo>
                    <a:pt x="19526" y="40481"/>
                  </a:lnTo>
                  <a:lnTo>
                    <a:pt x="19526" y="52864"/>
                  </a:lnTo>
                  <a:lnTo>
                    <a:pt x="54769" y="52864"/>
                  </a:lnTo>
                  <a:lnTo>
                    <a:pt x="54769" y="64294"/>
                  </a:lnTo>
                  <a:lnTo>
                    <a:pt x="7144" y="64294"/>
                  </a:lnTo>
                  <a:lnTo>
                    <a:pt x="7144" y="7144"/>
                  </a:lnTo>
                  <a:lnTo>
                    <a:pt x="54769" y="7144"/>
                  </a:lnTo>
                  <a:lnTo>
                    <a:pt x="54769" y="71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830258DF-ADC4-47C3-B3EC-9639B310B9FC}"/>
                </a:ext>
              </a:extLst>
            </p:cNvPr>
            <p:cNvSpPr/>
            <p:nvPr userDrawn="1"/>
          </p:nvSpPr>
          <p:spPr>
            <a:xfrm>
              <a:off x="364331" y="915194"/>
              <a:ext cx="66675" cy="66675"/>
            </a:xfrm>
            <a:custGeom>
              <a:avLst/>
              <a:gdLst>
                <a:gd name="connsiteX0" fmla="*/ 46196 w 66675"/>
                <a:gd name="connsiteY0" fmla="*/ 25241 h 66675"/>
                <a:gd name="connsiteX1" fmla="*/ 41434 w 66675"/>
                <a:gd name="connsiteY1" fmla="*/ 19526 h 66675"/>
                <a:gd name="connsiteX2" fmla="*/ 20479 w 66675"/>
                <a:gd name="connsiteY2" fmla="*/ 19526 h 66675"/>
                <a:gd name="connsiteX3" fmla="*/ 20479 w 66675"/>
                <a:gd name="connsiteY3" fmla="*/ 30004 h 66675"/>
                <a:gd name="connsiteX4" fmla="*/ 41434 w 66675"/>
                <a:gd name="connsiteY4" fmla="*/ 30004 h 66675"/>
                <a:gd name="connsiteX5" fmla="*/ 46196 w 66675"/>
                <a:gd name="connsiteY5" fmla="*/ 25241 h 66675"/>
                <a:gd name="connsiteX6" fmla="*/ 46196 w 66675"/>
                <a:gd name="connsiteY6" fmla="*/ 25241 h 66675"/>
                <a:gd name="connsiteX7" fmla="*/ 7144 w 66675"/>
                <a:gd name="connsiteY7" fmla="*/ 64294 h 66675"/>
                <a:gd name="connsiteX8" fmla="*/ 7144 w 66675"/>
                <a:gd name="connsiteY8" fmla="*/ 7144 h 66675"/>
                <a:gd name="connsiteX9" fmla="*/ 42386 w 66675"/>
                <a:gd name="connsiteY9" fmla="*/ 7144 h 66675"/>
                <a:gd name="connsiteX10" fmla="*/ 58579 w 66675"/>
                <a:gd name="connsiteY10" fmla="*/ 25241 h 66675"/>
                <a:gd name="connsiteX11" fmla="*/ 48101 w 66675"/>
                <a:gd name="connsiteY11" fmla="*/ 41434 h 66675"/>
                <a:gd name="connsiteX12" fmla="*/ 64294 w 66675"/>
                <a:gd name="connsiteY12" fmla="*/ 64294 h 66675"/>
                <a:gd name="connsiteX13" fmla="*/ 49054 w 66675"/>
                <a:gd name="connsiteY13" fmla="*/ 64294 h 66675"/>
                <a:gd name="connsiteX14" fmla="*/ 33814 w 66675"/>
                <a:gd name="connsiteY14" fmla="*/ 42386 h 66675"/>
                <a:gd name="connsiteX15" fmla="*/ 19526 w 66675"/>
                <a:gd name="connsiteY15" fmla="*/ 42386 h 66675"/>
                <a:gd name="connsiteX16" fmla="*/ 19526 w 66675"/>
                <a:gd name="connsiteY16" fmla="*/ 64294 h 66675"/>
                <a:gd name="connsiteX17" fmla="*/ 7144 w 66675"/>
                <a:gd name="connsiteY17" fmla="*/ 64294 h 66675"/>
                <a:gd name="connsiteX18" fmla="*/ 7144 w 66675"/>
                <a:gd name="connsiteY18" fmla="*/ 64294 h 66675"/>
                <a:gd name="connsiteX19" fmla="*/ 7144 w 66675"/>
                <a:gd name="connsiteY19" fmla="*/ 6429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6675" h="66675">
                  <a:moveTo>
                    <a:pt x="46196" y="25241"/>
                  </a:moveTo>
                  <a:cubicBezTo>
                    <a:pt x="46196" y="22384"/>
                    <a:pt x="44291" y="19526"/>
                    <a:pt x="41434" y="19526"/>
                  </a:cubicBezTo>
                  <a:cubicBezTo>
                    <a:pt x="20479" y="19526"/>
                    <a:pt x="20479" y="19526"/>
                    <a:pt x="20479" y="19526"/>
                  </a:cubicBezTo>
                  <a:cubicBezTo>
                    <a:pt x="20479" y="30004"/>
                    <a:pt x="20479" y="30004"/>
                    <a:pt x="20479" y="30004"/>
                  </a:cubicBezTo>
                  <a:cubicBezTo>
                    <a:pt x="41434" y="30004"/>
                    <a:pt x="41434" y="30004"/>
                    <a:pt x="41434" y="30004"/>
                  </a:cubicBezTo>
                  <a:cubicBezTo>
                    <a:pt x="43339" y="30004"/>
                    <a:pt x="46196" y="28099"/>
                    <a:pt x="46196" y="25241"/>
                  </a:cubicBezTo>
                  <a:lnTo>
                    <a:pt x="46196" y="25241"/>
                  </a:lnTo>
                  <a:close/>
                  <a:moveTo>
                    <a:pt x="7144" y="64294"/>
                  </a:moveTo>
                  <a:cubicBezTo>
                    <a:pt x="7144" y="7144"/>
                    <a:pt x="7144" y="7144"/>
                    <a:pt x="7144" y="7144"/>
                  </a:cubicBezTo>
                  <a:cubicBezTo>
                    <a:pt x="42386" y="7144"/>
                    <a:pt x="42386" y="7144"/>
                    <a:pt x="42386" y="7144"/>
                  </a:cubicBezTo>
                  <a:cubicBezTo>
                    <a:pt x="51911" y="7144"/>
                    <a:pt x="58579" y="14764"/>
                    <a:pt x="58579" y="25241"/>
                  </a:cubicBezTo>
                  <a:cubicBezTo>
                    <a:pt x="58579" y="32861"/>
                    <a:pt x="54769" y="39529"/>
                    <a:pt x="48101" y="41434"/>
                  </a:cubicBezTo>
                  <a:cubicBezTo>
                    <a:pt x="64294" y="64294"/>
                    <a:pt x="64294" y="64294"/>
                    <a:pt x="64294" y="64294"/>
                  </a:cubicBezTo>
                  <a:cubicBezTo>
                    <a:pt x="49054" y="64294"/>
                    <a:pt x="49054" y="64294"/>
                    <a:pt x="49054" y="64294"/>
                  </a:cubicBezTo>
                  <a:cubicBezTo>
                    <a:pt x="33814" y="42386"/>
                    <a:pt x="33814" y="42386"/>
                    <a:pt x="33814" y="42386"/>
                  </a:cubicBezTo>
                  <a:cubicBezTo>
                    <a:pt x="19526" y="42386"/>
                    <a:pt x="19526" y="42386"/>
                    <a:pt x="19526" y="42386"/>
                  </a:cubicBezTo>
                  <a:cubicBezTo>
                    <a:pt x="19526" y="64294"/>
                    <a:pt x="19526" y="64294"/>
                    <a:pt x="19526" y="64294"/>
                  </a:cubicBezTo>
                  <a:lnTo>
                    <a:pt x="7144" y="64294"/>
                  </a:lnTo>
                  <a:lnTo>
                    <a:pt x="7144" y="64294"/>
                  </a:lnTo>
                  <a:lnTo>
                    <a:pt x="7144" y="6429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</p:grpSp>
      <p:sp>
        <p:nvSpPr>
          <p:cNvPr id="23" name="MIO_VALID_LAYOUT" hidden="1">
            <a:extLst>
              <a:ext uri="{FF2B5EF4-FFF2-40B4-BE49-F238E27FC236}">
                <a16:creationId xmlns:a16="http://schemas.microsoft.com/office/drawing/2014/main" id="{9042AD05-739D-4B0A-9FF1-C157A10B7691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</p:spTree>
    <p:extLst>
      <p:ext uri="{BB962C8B-B14F-4D97-AF65-F5344CB8AC3E}">
        <p14:creationId xmlns:p14="http://schemas.microsoft.com/office/powerpoint/2010/main" val="3011176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Image transparent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B58DB7D2-BEAF-404E-9764-FC12BB9974B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2" y="2"/>
            <a:ext cx="9143998" cy="5143499"/>
          </a:xfrm>
          <a:custGeom>
            <a:avLst/>
            <a:gdLst>
              <a:gd name="connsiteX0" fmla="*/ 384808 w 12190411"/>
              <a:gd name="connsiteY0" fmla="*/ 934719 h 6857999"/>
              <a:gd name="connsiteX1" fmla="*/ 405763 w 12190411"/>
              <a:gd name="connsiteY1" fmla="*/ 934719 h 6857999"/>
              <a:gd name="connsiteX2" fmla="*/ 410525 w 12190411"/>
              <a:gd name="connsiteY2" fmla="*/ 940434 h 6857999"/>
              <a:gd name="connsiteX3" fmla="*/ 405763 w 12190411"/>
              <a:gd name="connsiteY3" fmla="*/ 945197 h 6857999"/>
              <a:gd name="connsiteX4" fmla="*/ 384808 w 12190411"/>
              <a:gd name="connsiteY4" fmla="*/ 945197 h 6857999"/>
              <a:gd name="connsiteX5" fmla="*/ 384808 w 12190411"/>
              <a:gd name="connsiteY5" fmla="*/ 934719 h 6857999"/>
              <a:gd name="connsiteX6" fmla="*/ 371473 w 12190411"/>
              <a:gd name="connsiteY6" fmla="*/ 922337 h 6857999"/>
              <a:gd name="connsiteX7" fmla="*/ 371473 w 12190411"/>
              <a:gd name="connsiteY7" fmla="*/ 979487 h 6857999"/>
              <a:gd name="connsiteX8" fmla="*/ 383855 w 12190411"/>
              <a:gd name="connsiteY8" fmla="*/ 979487 h 6857999"/>
              <a:gd name="connsiteX9" fmla="*/ 383855 w 12190411"/>
              <a:gd name="connsiteY9" fmla="*/ 957579 h 6857999"/>
              <a:gd name="connsiteX10" fmla="*/ 398143 w 12190411"/>
              <a:gd name="connsiteY10" fmla="*/ 957579 h 6857999"/>
              <a:gd name="connsiteX11" fmla="*/ 413383 w 12190411"/>
              <a:gd name="connsiteY11" fmla="*/ 979487 h 6857999"/>
              <a:gd name="connsiteX12" fmla="*/ 428623 w 12190411"/>
              <a:gd name="connsiteY12" fmla="*/ 979487 h 6857999"/>
              <a:gd name="connsiteX13" fmla="*/ 412430 w 12190411"/>
              <a:gd name="connsiteY13" fmla="*/ 956627 h 6857999"/>
              <a:gd name="connsiteX14" fmla="*/ 422908 w 12190411"/>
              <a:gd name="connsiteY14" fmla="*/ 940434 h 6857999"/>
              <a:gd name="connsiteX15" fmla="*/ 406715 w 12190411"/>
              <a:gd name="connsiteY15" fmla="*/ 922337 h 6857999"/>
              <a:gd name="connsiteX16" fmla="*/ 371473 w 12190411"/>
              <a:gd name="connsiteY16" fmla="*/ 922337 h 6857999"/>
              <a:gd name="connsiteX17" fmla="*/ 371473 w 12190411"/>
              <a:gd name="connsiteY17" fmla="*/ 855662 h 6857999"/>
              <a:gd name="connsiteX18" fmla="*/ 371473 w 12190411"/>
              <a:gd name="connsiteY18" fmla="*/ 912812 h 6857999"/>
              <a:gd name="connsiteX19" fmla="*/ 419098 w 12190411"/>
              <a:gd name="connsiteY19" fmla="*/ 912812 h 6857999"/>
              <a:gd name="connsiteX20" fmla="*/ 419098 w 12190411"/>
              <a:gd name="connsiteY20" fmla="*/ 901382 h 6857999"/>
              <a:gd name="connsiteX21" fmla="*/ 383855 w 12190411"/>
              <a:gd name="connsiteY21" fmla="*/ 901382 h 6857999"/>
              <a:gd name="connsiteX22" fmla="*/ 383855 w 12190411"/>
              <a:gd name="connsiteY22" fmla="*/ 888999 h 6857999"/>
              <a:gd name="connsiteX23" fmla="*/ 417193 w 12190411"/>
              <a:gd name="connsiteY23" fmla="*/ 888999 h 6857999"/>
              <a:gd name="connsiteX24" fmla="*/ 417193 w 12190411"/>
              <a:gd name="connsiteY24" fmla="*/ 877569 h 6857999"/>
              <a:gd name="connsiteX25" fmla="*/ 383855 w 12190411"/>
              <a:gd name="connsiteY25" fmla="*/ 877569 h 6857999"/>
              <a:gd name="connsiteX26" fmla="*/ 383855 w 12190411"/>
              <a:gd name="connsiteY26" fmla="*/ 867092 h 6857999"/>
              <a:gd name="connsiteX27" fmla="*/ 419098 w 12190411"/>
              <a:gd name="connsiteY27" fmla="*/ 867092 h 6857999"/>
              <a:gd name="connsiteX28" fmla="*/ 419098 w 12190411"/>
              <a:gd name="connsiteY28" fmla="*/ 855662 h 6857999"/>
              <a:gd name="connsiteX29" fmla="*/ 251459 w 12190411"/>
              <a:gd name="connsiteY29" fmla="*/ 822324 h 6857999"/>
              <a:gd name="connsiteX30" fmla="*/ 276223 w 12190411"/>
              <a:gd name="connsiteY30" fmla="*/ 822324 h 6857999"/>
              <a:gd name="connsiteX31" fmla="*/ 281939 w 12190411"/>
              <a:gd name="connsiteY31" fmla="*/ 828039 h 6857999"/>
              <a:gd name="connsiteX32" fmla="*/ 276223 w 12190411"/>
              <a:gd name="connsiteY32" fmla="*/ 833754 h 6857999"/>
              <a:gd name="connsiteX33" fmla="*/ 251459 w 12190411"/>
              <a:gd name="connsiteY33" fmla="*/ 833754 h 6857999"/>
              <a:gd name="connsiteX34" fmla="*/ 332422 w 12190411"/>
              <a:gd name="connsiteY34" fmla="*/ 802322 h 6857999"/>
              <a:gd name="connsiteX35" fmla="*/ 341947 w 12190411"/>
              <a:gd name="connsiteY35" fmla="*/ 824229 h 6857999"/>
              <a:gd name="connsiteX36" fmla="*/ 322897 w 12190411"/>
              <a:gd name="connsiteY36" fmla="*/ 824229 h 6857999"/>
              <a:gd name="connsiteX37" fmla="*/ 518159 w 12190411"/>
              <a:gd name="connsiteY37" fmla="*/ 801370 h 6857999"/>
              <a:gd name="connsiteX38" fmla="*/ 538161 w 12190411"/>
              <a:gd name="connsiteY38" fmla="*/ 801370 h 6857999"/>
              <a:gd name="connsiteX39" fmla="*/ 543876 w 12190411"/>
              <a:gd name="connsiteY39" fmla="*/ 806133 h 6857999"/>
              <a:gd name="connsiteX40" fmla="*/ 538161 w 12190411"/>
              <a:gd name="connsiteY40" fmla="*/ 811848 h 6857999"/>
              <a:gd name="connsiteX41" fmla="*/ 518159 w 12190411"/>
              <a:gd name="connsiteY41" fmla="*/ 811848 h 6857999"/>
              <a:gd name="connsiteX42" fmla="*/ 518159 w 12190411"/>
              <a:gd name="connsiteY42" fmla="*/ 801370 h 6857999"/>
              <a:gd name="connsiteX43" fmla="*/ 251459 w 12190411"/>
              <a:gd name="connsiteY43" fmla="*/ 801369 h 6857999"/>
              <a:gd name="connsiteX44" fmla="*/ 275271 w 12190411"/>
              <a:gd name="connsiteY44" fmla="*/ 801369 h 6857999"/>
              <a:gd name="connsiteX45" fmla="*/ 280034 w 12190411"/>
              <a:gd name="connsiteY45" fmla="*/ 806132 h 6857999"/>
              <a:gd name="connsiteX46" fmla="*/ 275271 w 12190411"/>
              <a:gd name="connsiteY46" fmla="*/ 810894 h 6857999"/>
              <a:gd name="connsiteX47" fmla="*/ 251459 w 12190411"/>
              <a:gd name="connsiteY47" fmla="*/ 810894 h 6857999"/>
              <a:gd name="connsiteX48" fmla="*/ 438149 w 12190411"/>
              <a:gd name="connsiteY48" fmla="*/ 788988 h 6857999"/>
              <a:gd name="connsiteX49" fmla="*/ 438149 w 12190411"/>
              <a:gd name="connsiteY49" fmla="*/ 846138 h 6857999"/>
              <a:gd name="connsiteX50" fmla="*/ 485774 w 12190411"/>
              <a:gd name="connsiteY50" fmla="*/ 846138 h 6857999"/>
              <a:gd name="connsiteX51" fmla="*/ 485774 w 12190411"/>
              <a:gd name="connsiteY51" fmla="*/ 834708 h 6857999"/>
              <a:gd name="connsiteX52" fmla="*/ 450531 w 12190411"/>
              <a:gd name="connsiteY52" fmla="*/ 834708 h 6857999"/>
              <a:gd name="connsiteX53" fmla="*/ 450531 w 12190411"/>
              <a:gd name="connsiteY53" fmla="*/ 822325 h 6857999"/>
              <a:gd name="connsiteX54" fmla="*/ 485774 w 12190411"/>
              <a:gd name="connsiteY54" fmla="*/ 822325 h 6857999"/>
              <a:gd name="connsiteX55" fmla="*/ 485774 w 12190411"/>
              <a:gd name="connsiteY55" fmla="*/ 810895 h 6857999"/>
              <a:gd name="connsiteX56" fmla="*/ 450531 w 12190411"/>
              <a:gd name="connsiteY56" fmla="*/ 810895 h 6857999"/>
              <a:gd name="connsiteX57" fmla="*/ 450531 w 12190411"/>
              <a:gd name="connsiteY57" fmla="*/ 800418 h 6857999"/>
              <a:gd name="connsiteX58" fmla="*/ 485774 w 12190411"/>
              <a:gd name="connsiteY58" fmla="*/ 800418 h 6857999"/>
              <a:gd name="connsiteX59" fmla="*/ 485774 w 12190411"/>
              <a:gd name="connsiteY59" fmla="*/ 788988 h 6857999"/>
              <a:gd name="connsiteX60" fmla="*/ 361949 w 12190411"/>
              <a:gd name="connsiteY60" fmla="*/ 788988 h 6857999"/>
              <a:gd name="connsiteX61" fmla="*/ 388619 w 12190411"/>
              <a:gd name="connsiteY61" fmla="*/ 826135 h 6857999"/>
              <a:gd name="connsiteX62" fmla="*/ 388619 w 12190411"/>
              <a:gd name="connsiteY62" fmla="*/ 846138 h 6857999"/>
              <a:gd name="connsiteX63" fmla="*/ 401954 w 12190411"/>
              <a:gd name="connsiteY63" fmla="*/ 846138 h 6857999"/>
              <a:gd name="connsiteX64" fmla="*/ 401954 w 12190411"/>
              <a:gd name="connsiteY64" fmla="*/ 826135 h 6857999"/>
              <a:gd name="connsiteX65" fmla="*/ 428624 w 12190411"/>
              <a:gd name="connsiteY65" fmla="*/ 788988 h 6857999"/>
              <a:gd name="connsiteX66" fmla="*/ 413384 w 12190411"/>
              <a:gd name="connsiteY66" fmla="*/ 788988 h 6857999"/>
              <a:gd name="connsiteX67" fmla="*/ 396239 w 12190411"/>
              <a:gd name="connsiteY67" fmla="*/ 813753 h 6857999"/>
              <a:gd name="connsiteX68" fmla="*/ 377189 w 12190411"/>
              <a:gd name="connsiteY68" fmla="*/ 788988 h 6857999"/>
              <a:gd name="connsiteX69" fmla="*/ 504824 w 12190411"/>
              <a:gd name="connsiteY69" fmla="*/ 788988 h 6857999"/>
              <a:gd name="connsiteX70" fmla="*/ 504824 w 12190411"/>
              <a:gd name="connsiteY70" fmla="*/ 846138 h 6857999"/>
              <a:gd name="connsiteX71" fmla="*/ 518159 w 12190411"/>
              <a:gd name="connsiteY71" fmla="*/ 846138 h 6857999"/>
              <a:gd name="connsiteX72" fmla="*/ 518159 w 12190411"/>
              <a:gd name="connsiteY72" fmla="*/ 824230 h 6857999"/>
              <a:gd name="connsiteX73" fmla="*/ 528636 w 12190411"/>
              <a:gd name="connsiteY73" fmla="*/ 824230 h 6857999"/>
              <a:gd name="connsiteX74" fmla="*/ 545781 w 12190411"/>
              <a:gd name="connsiteY74" fmla="*/ 846138 h 6857999"/>
              <a:gd name="connsiteX75" fmla="*/ 561974 w 12190411"/>
              <a:gd name="connsiteY75" fmla="*/ 846138 h 6857999"/>
              <a:gd name="connsiteX76" fmla="*/ 544829 w 12190411"/>
              <a:gd name="connsiteY76" fmla="*/ 824230 h 6857999"/>
              <a:gd name="connsiteX77" fmla="*/ 558164 w 12190411"/>
              <a:gd name="connsiteY77" fmla="*/ 807085 h 6857999"/>
              <a:gd name="connsiteX78" fmla="*/ 540066 w 12190411"/>
              <a:gd name="connsiteY78" fmla="*/ 788988 h 6857999"/>
              <a:gd name="connsiteX79" fmla="*/ 504824 w 12190411"/>
              <a:gd name="connsiteY79" fmla="*/ 788988 h 6857999"/>
              <a:gd name="connsiteX80" fmla="*/ 326707 w 12190411"/>
              <a:gd name="connsiteY80" fmla="*/ 788988 h 6857999"/>
              <a:gd name="connsiteX81" fmla="*/ 300037 w 12190411"/>
              <a:gd name="connsiteY81" fmla="*/ 846137 h 6857999"/>
              <a:gd name="connsiteX82" fmla="*/ 314324 w 12190411"/>
              <a:gd name="connsiteY82" fmla="*/ 846137 h 6857999"/>
              <a:gd name="connsiteX83" fmla="*/ 318134 w 12190411"/>
              <a:gd name="connsiteY83" fmla="*/ 835659 h 6857999"/>
              <a:gd name="connsiteX84" fmla="*/ 347662 w 12190411"/>
              <a:gd name="connsiteY84" fmla="*/ 835659 h 6857999"/>
              <a:gd name="connsiteX85" fmla="*/ 352424 w 12190411"/>
              <a:gd name="connsiteY85" fmla="*/ 846137 h 6857999"/>
              <a:gd name="connsiteX86" fmla="*/ 366712 w 12190411"/>
              <a:gd name="connsiteY86" fmla="*/ 846137 h 6857999"/>
              <a:gd name="connsiteX87" fmla="*/ 339089 w 12190411"/>
              <a:gd name="connsiteY87" fmla="*/ 788988 h 6857999"/>
              <a:gd name="connsiteX88" fmla="*/ 238124 w 12190411"/>
              <a:gd name="connsiteY88" fmla="*/ 788987 h 6857999"/>
              <a:gd name="connsiteX89" fmla="*/ 238124 w 12190411"/>
              <a:gd name="connsiteY89" fmla="*/ 846137 h 6857999"/>
              <a:gd name="connsiteX90" fmla="*/ 278128 w 12190411"/>
              <a:gd name="connsiteY90" fmla="*/ 846137 h 6857999"/>
              <a:gd name="connsiteX91" fmla="*/ 295274 w 12190411"/>
              <a:gd name="connsiteY91" fmla="*/ 828992 h 6857999"/>
              <a:gd name="connsiteX92" fmla="*/ 289559 w 12190411"/>
              <a:gd name="connsiteY92" fmla="*/ 816609 h 6857999"/>
              <a:gd name="connsiteX93" fmla="*/ 293368 w 12190411"/>
              <a:gd name="connsiteY93" fmla="*/ 806132 h 6857999"/>
              <a:gd name="connsiteX94" fmla="*/ 277176 w 12190411"/>
              <a:gd name="connsiteY94" fmla="*/ 788987 h 6857999"/>
              <a:gd name="connsiteX95" fmla="*/ 238124 w 12190411"/>
              <a:gd name="connsiteY95" fmla="*/ 788987 h 6857999"/>
              <a:gd name="connsiteX96" fmla="*/ 394334 w 12190411"/>
              <a:gd name="connsiteY96" fmla="*/ 735647 h 6857999"/>
              <a:gd name="connsiteX97" fmla="*/ 403859 w 12190411"/>
              <a:gd name="connsiteY97" fmla="*/ 757554 h 6857999"/>
              <a:gd name="connsiteX98" fmla="*/ 384809 w 12190411"/>
              <a:gd name="connsiteY98" fmla="*/ 757554 h 6857999"/>
              <a:gd name="connsiteX99" fmla="*/ 388619 w 12190411"/>
              <a:gd name="connsiteY99" fmla="*/ 722312 h 6857999"/>
              <a:gd name="connsiteX100" fmla="*/ 361949 w 12190411"/>
              <a:gd name="connsiteY100" fmla="*/ 779462 h 6857999"/>
              <a:gd name="connsiteX101" fmla="*/ 376236 w 12190411"/>
              <a:gd name="connsiteY101" fmla="*/ 779462 h 6857999"/>
              <a:gd name="connsiteX102" fmla="*/ 380046 w 12190411"/>
              <a:gd name="connsiteY102" fmla="*/ 768984 h 6857999"/>
              <a:gd name="connsiteX103" fmla="*/ 409574 w 12190411"/>
              <a:gd name="connsiteY103" fmla="*/ 768984 h 6857999"/>
              <a:gd name="connsiteX104" fmla="*/ 414336 w 12190411"/>
              <a:gd name="connsiteY104" fmla="*/ 779462 h 6857999"/>
              <a:gd name="connsiteX105" fmla="*/ 428624 w 12190411"/>
              <a:gd name="connsiteY105" fmla="*/ 779462 h 6857999"/>
              <a:gd name="connsiteX106" fmla="*/ 401001 w 12190411"/>
              <a:gd name="connsiteY106" fmla="*/ 722312 h 6857999"/>
              <a:gd name="connsiteX107" fmla="*/ 384810 w 12190411"/>
              <a:gd name="connsiteY107" fmla="*/ 688975 h 6857999"/>
              <a:gd name="connsiteX108" fmla="*/ 409575 w 12190411"/>
              <a:gd name="connsiteY108" fmla="*/ 688975 h 6857999"/>
              <a:gd name="connsiteX109" fmla="*/ 415290 w 12190411"/>
              <a:gd name="connsiteY109" fmla="*/ 694690 h 6857999"/>
              <a:gd name="connsiteX110" fmla="*/ 409575 w 12190411"/>
              <a:gd name="connsiteY110" fmla="*/ 700405 h 6857999"/>
              <a:gd name="connsiteX111" fmla="*/ 384810 w 12190411"/>
              <a:gd name="connsiteY111" fmla="*/ 700405 h 6857999"/>
              <a:gd name="connsiteX112" fmla="*/ 384810 w 12190411"/>
              <a:gd name="connsiteY112" fmla="*/ 668020 h 6857999"/>
              <a:gd name="connsiteX113" fmla="*/ 408622 w 12190411"/>
              <a:gd name="connsiteY113" fmla="*/ 668020 h 6857999"/>
              <a:gd name="connsiteX114" fmla="*/ 413385 w 12190411"/>
              <a:gd name="connsiteY114" fmla="*/ 672783 h 6857999"/>
              <a:gd name="connsiteX115" fmla="*/ 408622 w 12190411"/>
              <a:gd name="connsiteY115" fmla="*/ 677545 h 6857999"/>
              <a:gd name="connsiteX116" fmla="*/ 384810 w 12190411"/>
              <a:gd name="connsiteY116" fmla="*/ 677545 h 6857999"/>
              <a:gd name="connsiteX117" fmla="*/ 371475 w 12190411"/>
              <a:gd name="connsiteY117" fmla="*/ 655638 h 6857999"/>
              <a:gd name="connsiteX118" fmla="*/ 371475 w 12190411"/>
              <a:gd name="connsiteY118" fmla="*/ 712788 h 6857999"/>
              <a:gd name="connsiteX119" fmla="*/ 411480 w 12190411"/>
              <a:gd name="connsiteY119" fmla="*/ 712788 h 6857999"/>
              <a:gd name="connsiteX120" fmla="*/ 428625 w 12190411"/>
              <a:gd name="connsiteY120" fmla="*/ 695643 h 6857999"/>
              <a:gd name="connsiteX121" fmla="*/ 423862 w 12190411"/>
              <a:gd name="connsiteY121" fmla="*/ 683260 h 6857999"/>
              <a:gd name="connsiteX122" fmla="*/ 426720 w 12190411"/>
              <a:gd name="connsiteY122" fmla="*/ 672783 h 6857999"/>
              <a:gd name="connsiteX123" fmla="*/ 410527 w 12190411"/>
              <a:gd name="connsiteY123" fmla="*/ 655638 h 6857999"/>
              <a:gd name="connsiteX124" fmla="*/ 371475 w 12190411"/>
              <a:gd name="connsiteY124" fmla="*/ 655638 h 6857999"/>
              <a:gd name="connsiteX125" fmla="*/ 395906 w 12190411"/>
              <a:gd name="connsiteY125" fmla="*/ 642093 h 6857999"/>
              <a:gd name="connsiteX126" fmla="*/ 556451 w 12190411"/>
              <a:gd name="connsiteY126" fmla="*/ 723125 h 6857999"/>
              <a:gd name="connsiteX127" fmla="*/ 580894 w 12190411"/>
              <a:gd name="connsiteY127" fmla="*/ 766886 h 6857999"/>
              <a:gd name="connsiteX128" fmla="*/ 580897 w 12190411"/>
              <a:gd name="connsiteY128" fmla="*/ 766897 h 6857999"/>
              <a:gd name="connsiteX129" fmla="*/ 556803 w 12190411"/>
              <a:gd name="connsiteY129" fmla="*/ 723932 h 6857999"/>
              <a:gd name="connsiteX130" fmla="*/ 396257 w 12190411"/>
              <a:gd name="connsiteY130" fmla="*/ 642938 h 6857999"/>
              <a:gd name="connsiteX131" fmla="*/ 570519 w 12190411"/>
              <a:gd name="connsiteY131" fmla="*/ 804925 h 6857999"/>
              <a:gd name="connsiteX132" fmla="*/ 570870 w 12190411"/>
              <a:gd name="connsiteY132" fmla="*/ 817197 h 6857999"/>
              <a:gd name="connsiteX133" fmla="*/ 570519 w 12190411"/>
              <a:gd name="connsiteY133" fmla="*/ 829469 h 6857999"/>
              <a:gd name="connsiteX134" fmla="*/ 396257 w 12190411"/>
              <a:gd name="connsiteY134" fmla="*/ 991281 h 6857999"/>
              <a:gd name="connsiteX135" fmla="*/ 235711 w 12190411"/>
              <a:gd name="connsiteY135" fmla="*/ 910463 h 6857999"/>
              <a:gd name="connsiteX136" fmla="*/ 211203 w 12190411"/>
              <a:gd name="connsiteY136" fmla="*/ 866701 h 6857999"/>
              <a:gd name="connsiteX137" fmla="*/ 211136 w 12190411"/>
              <a:gd name="connsiteY137" fmla="*/ 866439 h 6857999"/>
              <a:gd name="connsiteX138" fmla="*/ 235360 w 12190411"/>
              <a:gd name="connsiteY138" fmla="*/ 909744 h 6857999"/>
              <a:gd name="connsiteX139" fmla="*/ 395906 w 12190411"/>
              <a:gd name="connsiteY139" fmla="*/ 990600 h 6857999"/>
              <a:gd name="connsiteX140" fmla="*/ 221644 w 12190411"/>
              <a:gd name="connsiteY140" fmla="*/ 828712 h 6857999"/>
              <a:gd name="connsiteX141" fmla="*/ 221292 w 12190411"/>
              <a:gd name="connsiteY141" fmla="*/ 816434 h 6857999"/>
              <a:gd name="connsiteX142" fmla="*/ 221644 w 12190411"/>
              <a:gd name="connsiteY142" fmla="*/ 804157 h 6857999"/>
              <a:gd name="connsiteX143" fmla="*/ 395906 w 12190411"/>
              <a:gd name="connsiteY143" fmla="*/ 642093 h 6857999"/>
              <a:gd name="connsiteX144" fmla="*/ 395906 w 12190411"/>
              <a:gd name="connsiteY144" fmla="*/ 617538 h 6857999"/>
              <a:gd name="connsiteX145" fmla="*/ 196850 w 12190411"/>
              <a:gd name="connsiteY145" fmla="*/ 804157 h 6857999"/>
              <a:gd name="connsiteX146" fmla="*/ 197141 w 12190411"/>
              <a:gd name="connsiteY146" fmla="*/ 807054 h 6857999"/>
              <a:gd name="connsiteX147" fmla="*/ 196850 w 12190411"/>
              <a:gd name="connsiteY147" fmla="*/ 817197 h 6857999"/>
              <a:gd name="connsiteX148" fmla="*/ 197202 w 12190411"/>
              <a:gd name="connsiteY148" fmla="*/ 829469 h 6857999"/>
              <a:gd name="connsiteX149" fmla="*/ 396257 w 12190411"/>
              <a:gd name="connsiteY149" fmla="*/ 1016000 h 6857999"/>
              <a:gd name="connsiteX150" fmla="*/ 595313 w 12190411"/>
              <a:gd name="connsiteY150" fmla="*/ 829469 h 6857999"/>
              <a:gd name="connsiteX151" fmla="*/ 595023 w 12190411"/>
              <a:gd name="connsiteY151" fmla="*/ 826543 h 6857999"/>
              <a:gd name="connsiteX152" fmla="*/ 595313 w 12190411"/>
              <a:gd name="connsiteY152" fmla="*/ 816434 h 6857999"/>
              <a:gd name="connsiteX153" fmla="*/ 594961 w 12190411"/>
              <a:gd name="connsiteY153" fmla="*/ 804157 h 6857999"/>
              <a:gd name="connsiteX154" fmla="*/ 395906 w 12190411"/>
              <a:gd name="connsiteY154" fmla="*/ 617538 h 6857999"/>
              <a:gd name="connsiteX155" fmla="*/ 6285641 w 12190411"/>
              <a:gd name="connsiteY155" fmla="*/ 0 h 6857999"/>
              <a:gd name="connsiteX156" fmla="*/ 12190411 w 12190411"/>
              <a:gd name="connsiteY156" fmla="*/ 0 h 6857999"/>
              <a:gd name="connsiteX157" fmla="*/ 12190411 w 12190411"/>
              <a:gd name="connsiteY157" fmla="*/ 6005393 h 6857999"/>
              <a:gd name="connsiteX158" fmla="*/ 9456588 w 12190411"/>
              <a:gd name="connsiteY158" fmla="*/ 6488000 h 6857999"/>
              <a:gd name="connsiteX159" fmla="*/ 9456594 w 12190411"/>
              <a:gd name="connsiteY159" fmla="*/ 6487971 h 6857999"/>
              <a:gd name="connsiteX160" fmla="*/ 7360503 w 12190411"/>
              <a:gd name="connsiteY160" fmla="*/ 6857999 h 6857999"/>
              <a:gd name="connsiteX161" fmla="*/ 3780054 w 12190411"/>
              <a:gd name="connsiteY161" fmla="*/ 6857999 h 6857999"/>
              <a:gd name="connsiteX162" fmla="*/ 0 w 12190411"/>
              <a:gd name="connsiteY162" fmla="*/ 0 h 6857999"/>
              <a:gd name="connsiteX163" fmla="*/ 6266477 w 12190411"/>
              <a:gd name="connsiteY163" fmla="*/ 0 h 6857999"/>
              <a:gd name="connsiteX164" fmla="*/ 3760890 w 12190411"/>
              <a:gd name="connsiteY164" fmla="*/ 6857999 h 6857999"/>
              <a:gd name="connsiteX165" fmla="*/ 0 w 12190411"/>
              <a:gd name="connsiteY165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12190411" h="6857999">
                <a:moveTo>
                  <a:pt x="384808" y="934719"/>
                </a:moveTo>
                <a:cubicBezTo>
                  <a:pt x="384808" y="934719"/>
                  <a:pt x="384808" y="934719"/>
                  <a:pt x="405763" y="934719"/>
                </a:cubicBezTo>
                <a:cubicBezTo>
                  <a:pt x="408620" y="934719"/>
                  <a:pt x="410525" y="937577"/>
                  <a:pt x="410525" y="940434"/>
                </a:cubicBezTo>
                <a:cubicBezTo>
                  <a:pt x="410525" y="943292"/>
                  <a:pt x="407668" y="945197"/>
                  <a:pt x="405763" y="945197"/>
                </a:cubicBezTo>
                <a:cubicBezTo>
                  <a:pt x="405763" y="945197"/>
                  <a:pt x="405763" y="945197"/>
                  <a:pt x="384808" y="945197"/>
                </a:cubicBezTo>
                <a:cubicBezTo>
                  <a:pt x="384808" y="945197"/>
                  <a:pt x="384808" y="945197"/>
                  <a:pt x="384808" y="934719"/>
                </a:cubicBezTo>
                <a:close/>
                <a:moveTo>
                  <a:pt x="371473" y="922337"/>
                </a:moveTo>
                <a:cubicBezTo>
                  <a:pt x="371473" y="922337"/>
                  <a:pt x="371473" y="922337"/>
                  <a:pt x="371473" y="979487"/>
                </a:cubicBezTo>
                <a:lnTo>
                  <a:pt x="383855" y="979487"/>
                </a:lnTo>
                <a:cubicBezTo>
                  <a:pt x="383855" y="979487"/>
                  <a:pt x="383855" y="979487"/>
                  <a:pt x="383855" y="957579"/>
                </a:cubicBezTo>
                <a:cubicBezTo>
                  <a:pt x="383855" y="957579"/>
                  <a:pt x="383855" y="957579"/>
                  <a:pt x="398143" y="957579"/>
                </a:cubicBezTo>
                <a:cubicBezTo>
                  <a:pt x="398143" y="957579"/>
                  <a:pt x="398143" y="957579"/>
                  <a:pt x="413383" y="979487"/>
                </a:cubicBezTo>
                <a:cubicBezTo>
                  <a:pt x="413383" y="979487"/>
                  <a:pt x="413383" y="979487"/>
                  <a:pt x="428623" y="979487"/>
                </a:cubicBezTo>
                <a:cubicBezTo>
                  <a:pt x="428623" y="979487"/>
                  <a:pt x="428623" y="979487"/>
                  <a:pt x="412430" y="956627"/>
                </a:cubicBezTo>
                <a:cubicBezTo>
                  <a:pt x="419098" y="954722"/>
                  <a:pt x="422908" y="948054"/>
                  <a:pt x="422908" y="940434"/>
                </a:cubicBezTo>
                <a:cubicBezTo>
                  <a:pt x="422908" y="929957"/>
                  <a:pt x="416240" y="922337"/>
                  <a:pt x="406715" y="922337"/>
                </a:cubicBezTo>
                <a:cubicBezTo>
                  <a:pt x="406715" y="922337"/>
                  <a:pt x="406715" y="922337"/>
                  <a:pt x="371473" y="922337"/>
                </a:cubicBezTo>
                <a:close/>
                <a:moveTo>
                  <a:pt x="371473" y="855662"/>
                </a:moveTo>
                <a:lnTo>
                  <a:pt x="371473" y="912812"/>
                </a:lnTo>
                <a:lnTo>
                  <a:pt x="419098" y="912812"/>
                </a:lnTo>
                <a:lnTo>
                  <a:pt x="419098" y="901382"/>
                </a:lnTo>
                <a:lnTo>
                  <a:pt x="383855" y="901382"/>
                </a:lnTo>
                <a:lnTo>
                  <a:pt x="383855" y="888999"/>
                </a:lnTo>
                <a:lnTo>
                  <a:pt x="417193" y="888999"/>
                </a:lnTo>
                <a:lnTo>
                  <a:pt x="417193" y="877569"/>
                </a:lnTo>
                <a:lnTo>
                  <a:pt x="383855" y="877569"/>
                </a:lnTo>
                <a:lnTo>
                  <a:pt x="383855" y="867092"/>
                </a:lnTo>
                <a:lnTo>
                  <a:pt x="419098" y="867092"/>
                </a:lnTo>
                <a:lnTo>
                  <a:pt x="419098" y="855662"/>
                </a:lnTo>
                <a:close/>
                <a:moveTo>
                  <a:pt x="251459" y="822324"/>
                </a:moveTo>
                <a:cubicBezTo>
                  <a:pt x="251459" y="822324"/>
                  <a:pt x="251459" y="822324"/>
                  <a:pt x="276223" y="822324"/>
                </a:cubicBezTo>
                <a:cubicBezTo>
                  <a:pt x="279081" y="822324"/>
                  <a:pt x="281939" y="825182"/>
                  <a:pt x="281939" y="828039"/>
                </a:cubicBezTo>
                <a:cubicBezTo>
                  <a:pt x="281939" y="830897"/>
                  <a:pt x="279081" y="833754"/>
                  <a:pt x="276223" y="833754"/>
                </a:cubicBezTo>
                <a:cubicBezTo>
                  <a:pt x="276223" y="833754"/>
                  <a:pt x="276223" y="833754"/>
                  <a:pt x="251459" y="833754"/>
                </a:cubicBezTo>
                <a:close/>
                <a:moveTo>
                  <a:pt x="332422" y="802322"/>
                </a:moveTo>
                <a:lnTo>
                  <a:pt x="341947" y="824229"/>
                </a:lnTo>
                <a:lnTo>
                  <a:pt x="322897" y="824229"/>
                </a:lnTo>
                <a:close/>
                <a:moveTo>
                  <a:pt x="518159" y="801370"/>
                </a:moveTo>
                <a:cubicBezTo>
                  <a:pt x="518159" y="801370"/>
                  <a:pt x="518159" y="801370"/>
                  <a:pt x="538161" y="801370"/>
                </a:cubicBezTo>
                <a:cubicBezTo>
                  <a:pt x="541971" y="801370"/>
                  <a:pt x="543876" y="803275"/>
                  <a:pt x="543876" y="806133"/>
                </a:cubicBezTo>
                <a:cubicBezTo>
                  <a:pt x="543876" y="808990"/>
                  <a:pt x="541019" y="811848"/>
                  <a:pt x="538161" y="811848"/>
                </a:cubicBezTo>
                <a:cubicBezTo>
                  <a:pt x="538161" y="811848"/>
                  <a:pt x="538161" y="811848"/>
                  <a:pt x="518159" y="811848"/>
                </a:cubicBezTo>
                <a:cubicBezTo>
                  <a:pt x="518159" y="811848"/>
                  <a:pt x="518159" y="811848"/>
                  <a:pt x="518159" y="801370"/>
                </a:cubicBezTo>
                <a:close/>
                <a:moveTo>
                  <a:pt x="251459" y="801369"/>
                </a:moveTo>
                <a:cubicBezTo>
                  <a:pt x="251459" y="801369"/>
                  <a:pt x="251459" y="801369"/>
                  <a:pt x="275271" y="801369"/>
                </a:cubicBezTo>
                <a:cubicBezTo>
                  <a:pt x="278128" y="801369"/>
                  <a:pt x="280034" y="803274"/>
                  <a:pt x="280034" y="806132"/>
                </a:cubicBezTo>
                <a:cubicBezTo>
                  <a:pt x="280034" y="808989"/>
                  <a:pt x="278128" y="810894"/>
                  <a:pt x="275271" y="810894"/>
                </a:cubicBezTo>
                <a:cubicBezTo>
                  <a:pt x="275271" y="810894"/>
                  <a:pt x="275271" y="810894"/>
                  <a:pt x="251459" y="810894"/>
                </a:cubicBezTo>
                <a:close/>
                <a:moveTo>
                  <a:pt x="438149" y="788988"/>
                </a:moveTo>
                <a:lnTo>
                  <a:pt x="438149" y="846138"/>
                </a:lnTo>
                <a:lnTo>
                  <a:pt x="485774" y="846138"/>
                </a:lnTo>
                <a:lnTo>
                  <a:pt x="485774" y="834708"/>
                </a:lnTo>
                <a:lnTo>
                  <a:pt x="450531" y="834708"/>
                </a:lnTo>
                <a:lnTo>
                  <a:pt x="450531" y="822325"/>
                </a:lnTo>
                <a:lnTo>
                  <a:pt x="485774" y="822325"/>
                </a:lnTo>
                <a:lnTo>
                  <a:pt x="485774" y="810895"/>
                </a:lnTo>
                <a:lnTo>
                  <a:pt x="450531" y="810895"/>
                </a:lnTo>
                <a:lnTo>
                  <a:pt x="450531" y="800418"/>
                </a:lnTo>
                <a:lnTo>
                  <a:pt x="485774" y="800418"/>
                </a:lnTo>
                <a:lnTo>
                  <a:pt x="485774" y="788988"/>
                </a:lnTo>
                <a:close/>
                <a:moveTo>
                  <a:pt x="361949" y="788988"/>
                </a:moveTo>
                <a:lnTo>
                  <a:pt x="388619" y="826135"/>
                </a:lnTo>
                <a:lnTo>
                  <a:pt x="388619" y="846138"/>
                </a:lnTo>
                <a:lnTo>
                  <a:pt x="401954" y="846138"/>
                </a:lnTo>
                <a:lnTo>
                  <a:pt x="401954" y="826135"/>
                </a:lnTo>
                <a:lnTo>
                  <a:pt x="428624" y="788988"/>
                </a:lnTo>
                <a:lnTo>
                  <a:pt x="413384" y="788988"/>
                </a:lnTo>
                <a:lnTo>
                  <a:pt x="396239" y="813753"/>
                </a:lnTo>
                <a:lnTo>
                  <a:pt x="377189" y="788988"/>
                </a:lnTo>
                <a:close/>
                <a:moveTo>
                  <a:pt x="504824" y="788988"/>
                </a:moveTo>
                <a:cubicBezTo>
                  <a:pt x="504824" y="788988"/>
                  <a:pt x="504824" y="788988"/>
                  <a:pt x="504824" y="846138"/>
                </a:cubicBezTo>
                <a:cubicBezTo>
                  <a:pt x="504824" y="846138"/>
                  <a:pt x="504824" y="846138"/>
                  <a:pt x="518159" y="846138"/>
                </a:cubicBezTo>
                <a:cubicBezTo>
                  <a:pt x="518159" y="846138"/>
                  <a:pt x="518159" y="846138"/>
                  <a:pt x="518159" y="824230"/>
                </a:cubicBezTo>
                <a:cubicBezTo>
                  <a:pt x="518159" y="824230"/>
                  <a:pt x="518159" y="824230"/>
                  <a:pt x="528636" y="824230"/>
                </a:cubicBezTo>
                <a:lnTo>
                  <a:pt x="545781" y="846138"/>
                </a:lnTo>
                <a:cubicBezTo>
                  <a:pt x="545781" y="846138"/>
                  <a:pt x="545781" y="846138"/>
                  <a:pt x="561974" y="846138"/>
                </a:cubicBezTo>
                <a:cubicBezTo>
                  <a:pt x="561974" y="846138"/>
                  <a:pt x="561974" y="846138"/>
                  <a:pt x="544829" y="824230"/>
                </a:cubicBezTo>
                <a:cubicBezTo>
                  <a:pt x="552449" y="821373"/>
                  <a:pt x="558164" y="814705"/>
                  <a:pt x="558164" y="807085"/>
                </a:cubicBezTo>
                <a:cubicBezTo>
                  <a:pt x="558164" y="796608"/>
                  <a:pt x="549591" y="788988"/>
                  <a:pt x="540066" y="788988"/>
                </a:cubicBezTo>
                <a:cubicBezTo>
                  <a:pt x="540066" y="788988"/>
                  <a:pt x="540066" y="788988"/>
                  <a:pt x="504824" y="788988"/>
                </a:cubicBezTo>
                <a:close/>
                <a:moveTo>
                  <a:pt x="326707" y="788988"/>
                </a:moveTo>
                <a:lnTo>
                  <a:pt x="300037" y="846137"/>
                </a:lnTo>
                <a:lnTo>
                  <a:pt x="314324" y="846137"/>
                </a:lnTo>
                <a:lnTo>
                  <a:pt x="318134" y="835659"/>
                </a:lnTo>
                <a:lnTo>
                  <a:pt x="347662" y="835659"/>
                </a:lnTo>
                <a:lnTo>
                  <a:pt x="352424" y="846137"/>
                </a:lnTo>
                <a:lnTo>
                  <a:pt x="366712" y="846137"/>
                </a:lnTo>
                <a:lnTo>
                  <a:pt x="339089" y="788988"/>
                </a:lnTo>
                <a:close/>
                <a:moveTo>
                  <a:pt x="238124" y="788987"/>
                </a:moveTo>
                <a:cubicBezTo>
                  <a:pt x="238124" y="788987"/>
                  <a:pt x="238124" y="788987"/>
                  <a:pt x="238124" y="846137"/>
                </a:cubicBezTo>
                <a:cubicBezTo>
                  <a:pt x="238124" y="846137"/>
                  <a:pt x="238124" y="846137"/>
                  <a:pt x="278128" y="846137"/>
                </a:cubicBezTo>
                <a:cubicBezTo>
                  <a:pt x="287654" y="846137"/>
                  <a:pt x="295274" y="838517"/>
                  <a:pt x="295274" y="828992"/>
                </a:cubicBezTo>
                <a:cubicBezTo>
                  <a:pt x="295274" y="824229"/>
                  <a:pt x="293368" y="819467"/>
                  <a:pt x="289559" y="816609"/>
                </a:cubicBezTo>
                <a:cubicBezTo>
                  <a:pt x="292416" y="813752"/>
                  <a:pt x="294321" y="809942"/>
                  <a:pt x="293368" y="806132"/>
                </a:cubicBezTo>
                <a:cubicBezTo>
                  <a:pt x="293368" y="796607"/>
                  <a:pt x="286701" y="788987"/>
                  <a:pt x="277176" y="788987"/>
                </a:cubicBezTo>
                <a:cubicBezTo>
                  <a:pt x="277176" y="788987"/>
                  <a:pt x="277176" y="788987"/>
                  <a:pt x="238124" y="788987"/>
                </a:cubicBezTo>
                <a:close/>
                <a:moveTo>
                  <a:pt x="394334" y="735647"/>
                </a:moveTo>
                <a:lnTo>
                  <a:pt x="403859" y="757554"/>
                </a:lnTo>
                <a:lnTo>
                  <a:pt x="384809" y="757554"/>
                </a:lnTo>
                <a:close/>
                <a:moveTo>
                  <a:pt x="388619" y="722312"/>
                </a:moveTo>
                <a:lnTo>
                  <a:pt x="361949" y="779462"/>
                </a:lnTo>
                <a:lnTo>
                  <a:pt x="376236" y="779462"/>
                </a:lnTo>
                <a:lnTo>
                  <a:pt x="380046" y="768984"/>
                </a:lnTo>
                <a:lnTo>
                  <a:pt x="409574" y="768984"/>
                </a:lnTo>
                <a:lnTo>
                  <a:pt x="414336" y="779462"/>
                </a:lnTo>
                <a:lnTo>
                  <a:pt x="428624" y="779462"/>
                </a:lnTo>
                <a:lnTo>
                  <a:pt x="401001" y="722312"/>
                </a:lnTo>
                <a:close/>
                <a:moveTo>
                  <a:pt x="384810" y="688975"/>
                </a:moveTo>
                <a:cubicBezTo>
                  <a:pt x="384810" y="688975"/>
                  <a:pt x="384810" y="688975"/>
                  <a:pt x="409575" y="688975"/>
                </a:cubicBezTo>
                <a:cubicBezTo>
                  <a:pt x="413385" y="688975"/>
                  <a:pt x="415290" y="691833"/>
                  <a:pt x="415290" y="694690"/>
                </a:cubicBezTo>
                <a:cubicBezTo>
                  <a:pt x="415290" y="697548"/>
                  <a:pt x="412432" y="700405"/>
                  <a:pt x="409575" y="700405"/>
                </a:cubicBezTo>
                <a:cubicBezTo>
                  <a:pt x="409575" y="700405"/>
                  <a:pt x="409575" y="700405"/>
                  <a:pt x="384810" y="700405"/>
                </a:cubicBezTo>
                <a:close/>
                <a:moveTo>
                  <a:pt x="384810" y="668020"/>
                </a:moveTo>
                <a:cubicBezTo>
                  <a:pt x="384810" y="668020"/>
                  <a:pt x="384810" y="668020"/>
                  <a:pt x="408622" y="668020"/>
                </a:cubicBezTo>
                <a:cubicBezTo>
                  <a:pt x="411480" y="668020"/>
                  <a:pt x="413385" y="669925"/>
                  <a:pt x="413385" y="672783"/>
                </a:cubicBezTo>
                <a:cubicBezTo>
                  <a:pt x="413385" y="675640"/>
                  <a:pt x="411480" y="677545"/>
                  <a:pt x="408622" y="677545"/>
                </a:cubicBezTo>
                <a:cubicBezTo>
                  <a:pt x="408622" y="677545"/>
                  <a:pt x="408622" y="677545"/>
                  <a:pt x="384810" y="677545"/>
                </a:cubicBezTo>
                <a:close/>
                <a:moveTo>
                  <a:pt x="371475" y="655638"/>
                </a:moveTo>
                <a:cubicBezTo>
                  <a:pt x="371475" y="655638"/>
                  <a:pt x="371475" y="655638"/>
                  <a:pt x="371475" y="712788"/>
                </a:cubicBezTo>
                <a:cubicBezTo>
                  <a:pt x="371475" y="712788"/>
                  <a:pt x="371475" y="712788"/>
                  <a:pt x="411480" y="712788"/>
                </a:cubicBezTo>
                <a:cubicBezTo>
                  <a:pt x="421005" y="712788"/>
                  <a:pt x="428625" y="705168"/>
                  <a:pt x="428625" y="695643"/>
                </a:cubicBezTo>
                <a:cubicBezTo>
                  <a:pt x="428625" y="690880"/>
                  <a:pt x="426720" y="686118"/>
                  <a:pt x="423862" y="683260"/>
                </a:cubicBezTo>
                <a:cubicBezTo>
                  <a:pt x="425767" y="680403"/>
                  <a:pt x="427672" y="676593"/>
                  <a:pt x="426720" y="672783"/>
                </a:cubicBezTo>
                <a:cubicBezTo>
                  <a:pt x="426720" y="663258"/>
                  <a:pt x="420052" y="655638"/>
                  <a:pt x="410527" y="655638"/>
                </a:cubicBezTo>
                <a:cubicBezTo>
                  <a:pt x="410527" y="655638"/>
                  <a:pt x="410527" y="655638"/>
                  <a:pt x="371475" y="655638"/>
                </a:cubicBezTo>
                <a:close/>
                <a:moveTo>
                  <a:pt x="395906" y="642093"/>
                </a:moveTo>
                <a:cubicBezTo>
                  <a:pt x="461671" y="642093"/>
                  <a:pt x="520052" y="674015"/>
                  <a:pt x="556451" y="723125"/>
                </a:cubicBezTo>
                <a:cubicBezTo>
                  <a:pt x="566299" y="736543"/>
                  <a:pt x="574563" y="751232"/>
                  <a:pt x="580894" y="766886"/>
                </a:cubicBezTo>
                <a:lnTo>
                  <a:pt x="580897" y="766897"/>
                </a:lnTo>
                <a:lnTo>
                  <a:pt x="556803" y="723932"/>
                </a:lnTo>
                <a:cubicBezTo>
                  <a:pt x="520403" y="674845"/>
                  <a:pt x="462023" y="642938"/>
                  <a:pt x="396257" y="642938"/>
                </a:cubicBezTo>
                <a:cubicBezTo>
                  <a:pt x="488399" y="642938"/>
                  <a:pt x="564188" y="714465"/>
                  <a:pt x="570519" y="804925"/>
                </a:cubicBezTo>
                <a:cubicBezTo>
                  <a:pt x="570695" y="808958"/>
                  <a:pt x="570870" y="812990"/>
                  <a:pt x="570870" y="817197"/>
                </a:cubicBezTo>
                <a:cubicBezTo>
                  <a:pt x="570870" y="821229"/>
                  <a:pt x="570695" y="825437"/>
                  <a:pt x="570519" y="829469"/>
                </a:cubicBezTo>
                <a:cubicBezTo>
                  <a:pt x="564188" y="919754"/>
                  <a:pt x="488399" y="991281"/>
                  <a:pt x="396257" y="991281"/>
                </a:cubicBezTo>
                <a:cubicBezTo>
                  <a:pt x="330316" y="991281"/>
                  <a:pt x="271935" y="959550"/>
                  <a:pt x="235711" y="910463"/>
                </a:cubicBezTo>
                <a:cubicBezTo>
                  <a:pt x="225776" y="897051"/>
                  <a:pt x="217512" y="882369"/>
                  <a:pt x="211203" y="866701"/>
                </a:cubicBezTo>
                <a:lnTo>
                  <a:pt x="211136" y="866439"/>
                </a:lnTo>
                <a:lnTo>
                  <a:pt x="235360" y="909744"/>
                </a:lnTo>
                <a:cubicBezTo>
                  <a:pt x="271760" y="958854"/>
                  <a:pt x="329964" y="990600"/>
                  <a:pt x="395906" y="990600"/>
                </a:cubicBezTo>
                <a:cubicBezTo>
                  <a:pt x="303763" y="990600"/>
                  <a:pt x="227974" y="919039"/>
                  <a:pt x="221644" y="828712"/>
                </a:cubicBezTo>
                <a:cubicBezTo>
                  <a:pt x="221292" y="824678"/>
                  <a:pt x="221292" y="820468"/>
                  <a:pt x="221292" y="816434"/>
                </a:cubicBezTo>
                <a:cubicBezTo>
                  <a:pt x="221292" y="812225"/>
                  <a:pt x="221292" y="808191"/>
                  <a:pt x="221644" y="804157"/>
                </a:cubicBezTo>
                <a:cubicBezTo>
                  <a:pt x="227974" y="713654"/>
                  <a:pt x="303763" y="642093"/>
                  <a:pt x="395906" y="642093"/>
                </a:cubicBezTo>
                <a:close/>
                <a:moveTo>
                  <a:pt x="395906" y="617538"/>
                </a:moveTo>
                <a:cubicBezTo>
                  <a:pt x="289872" y="617538"/>
                  <a:pt x="203356" y="699973"/>
                  <a:pt x="196850" y="804157"/>
                </a:cubicBezTo>
                <a:lnTo>
                  <a:pt x="197141" y="807054"/>
                </a:lnTo>
                <a:lnTo>
                  <a:pt x="196850" y="817197"/>
                </a:lnTo>
                <a:cubicBezTo>
                  <a:pt x="196850" y="821229"/>
                  <a:pt x="197026" y="825437"/>
                  <a:pt x="197202" y="829469"/>
                </a:cubicBezTo>
                <a:cubicBezTo>
                  <a:pt x="203708" y="933604"/>
                  <a:pt x="290223" y="1016000"/>
                  <a:pt x="396257" y="1016000"/>
                </a:cubicBezTo>
                <a:cubicBezTo>
                  <a:pt x="502291" y="1016000"/>
                  <a:pt x="588806" y="933604"/>
                  <a:pt x="595313" y="829469"/>
                </a:cubicBezTo>
                <a:lnTo>
                  <a:pt x="595023" y="826543"/>
                </a:lnTo>
                <a:lnTo>
                  <a:pt x="595313" y="816434"/>
                </a:lnTo>
                <a:cubicBezTo>
                  <a:pt x="595313" y="812225"/>
                  <a:pt x="595137" y="808191"/>
                  <a:pt x="594961" y="804157"/>
                </a:cubicBezTo>
                <a:cubicBezTo>
                  <a:pt x="588455" y="699973"/>
                  <a:pt x="501940" y="617538"/>
                  <a:pt x="395906" y="617538"/>
                </a:cubicBezTo>
                <a:close/>
                <a:moveTo>
                  <a:pt x="6285641" y="0"/>
                </a:moveTo>
                <a:lnTo>
                  <a:pt x="12190411" y="0"/>
                </a:lnTo>
                <a:lnTo>
                  <a:pt x="12190411" y="6005393"/>
                </a:lnTo>
                <a:lnTo>
                  <a:pt x="9456588" y="6488000"/>
                </a:lnTo>
                <a:lnTo>
                  <a:pt x="9456594" y="6487971"/>
                </a:lnTo>
                <a:lnTo>
                  <a:pt x="7360503" y="6857999"/>
                </a:lnTo>
                <a:lnTo>
                  <a:pt x="3780054" y="6857999"/>
                </a:lnTo>
                <a:close/>
                <a:moveTo>
                  <a:pt x="0" y="0"/>
                </a:moveTo>
                <a:lnTo>
                  <a:pt x="6266477" y="0"/>
                </a:lnTo>
                <a:lnTo>
                  <a:pt x="3760890" y="6857999"/>
                </a:lnTo>
                <a:lnTo>
                  <a:pt x="0" y="6857999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2845E33-357F-47FD-87A8-70D09DB9CAD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2" y="-7142"/>
            <a:ext cx="4543369" cy="5157787"/>
          </a:xfrm>
          <a:custGeom>
            <a:avLst/>
            <a:gdLst>
              <a:gd name="connsiteX0" fmla="*/ 5798642 w 6057037"/>
              <a:gd name="connsiteY0" fmla="*/ 1332612 h 6877049"/>
              <a:gd name="connsiteX1" fmla="*/ 4723899 w 6057037"/>
              <a:gd name="connsiteY1" fmla="*/ 6875332 h 6877049"/>
              <a:gd name="connsiteX2" fmla="*/ 4723899 w 6057037"/>
              <a:gd name="connsiteY2" fmla="*/ 6877049 h 6877049"/>
              <a:gd name="connsiteX3" fmla="*/ 3772669 w 6057037"/>
              <a:gd name="connsiteY3" fmla="*/ 6877049 h 6877049"/>
              <a:gd name="connsiteX4" fmla="*/ 384809 w 6057037"/>
              <a:gd name="connsiteY4" fmla="*/ 944244 h 6877049"/>
              <a:gd name="connsiteX5" fmla="*/ 405764 w 6057037"/>
              <a:gd name="connsiteY5" fmla="*/ 944244 h 6877049"/>
              <a:gd name="connsiteX6" fmla="*/ 410526 w 6057037"/>
              <a:gd name="connsiteY6" fmla="*/ 949959 h 6877049"/>
              <a:gd name="connsiteX7" fmla="*/ 405764 w 6057037"/>
              <a:gd name="connsiteY7" fmla="*/ 954722 h 6877049"/>
              <a:gd name="connsiteX8" fmla="*/ 384809 w 6057037"/>
              <a:gd name="connsiteY8" fmla="*/ 954722 h 6877049"/>
              <a:gd name="connsiteX9" fmla="*/ 384809 w 6057037"/>
              <a:gd name="connsiteY9" fmla="*/ 944244 h 6877049"/>
              <a:gd name="connsiteX10" fmla="*/ 371474 w 6057037"/>
              <a:gd name="connsiteY10" fmla="*/ 931862 h 6877049"/>
              <a:gd name="connsiteX11" fmla="*/ 371474 w 6057037"/>
              <a:gd name="connsiteY11" fmla="*/ 989012 h 6877049"/>
              <a:gd name="connsiteX12" fmla="*/ 383856 w 6057037"/>
              <a:gd name="connsiteY12" fmla="*/ 989012 h 6877049"/>
              <a:gd name="connsiteX13" fmla="*/ 383856 w 6057037"/>
              <a:gd name="connsiteY13" fmla="*/ 967104 h 6877049"/>
              <a:gd name="connsiteX14" fmla="*/ 398144 w 6057037"/>
              <a:gd name="connsiteY14" fmla="*/ 967104 h 6877049"/>
              <a:gd name="connsiteX15" fmla="*/ 413384 w 6057037"/>
              <a:gd name="connsiteY15" fmla="*/ 989012 h 6877049"/>
              <a:gd name="connsiteX16" fmla="*/ 428624 w 6057037"/>
              <a:gd name="connsiteY16" fmla="*/ 989012 h 6877049"/>
              <a:gd name="connsiteX17" fmla="*/ 412431 w 6057037"/>
              <a:gd name="connsiteY17" fmla="*/ 966152 h 6877049"/>
              <a:gd name="connsiteX18" fmla="*/ 422909 w 6057037"/>
              <a:gd name="connsiteY18" fmla="*/ 949959 h 6877049"/>
              <a:gd name="connsiteX19" fmla="*/ 406716 w 6057037"/>
              <a:gd name="connsiteY19" fmla="*/ 931862 h 6877049"/>
              <a:gd name="connsiteX20" fmla="*/ 371474 w 6057037"/>
              <a:gd name="connsiteY20" fmla="*/ 931862 h 6877049"/>
              <a:gd name="connsiteX21" fmla="*/ 371474 w 6057037"/>
              <a:gd name="connsiteY21" fmla="*/ 865187 h 6877049"/>
              <a:gd name="connsiteX22" fmla="*/ 371474 w 6057037"/>
              <a:gd name="connsiteY22" fmla="*/ 922337 h 6877049"/>
              <a:gd name="connsiteX23" fmla="*/ 419099 w 6057037"/>
              <a:gd name="connsiteY23" fmla="*/ 922337 h 6877049"/>
              <a:gd name="connsiteX24" fmla="*/ 419099 w 6057037"/>
              <a:gd name="connsiteY24" fmla="*/ 910907 h 6877049"/>
              <a:gd name="connsiteX25" fmla="*/ 383856 w 6057037"/>
              <a:gd name="connsiteY25" fmla="*/ 910907 h 6877049"/>
              <a:gd name="connsiteX26" fmla="*/ 383856 w 6057037"/>
              <a:gd name="connsiteY26" fmla="*/ 898524 h 6877049"/>
              <a:gd name="connsiteX27" fmla="*/ 417194 w 6057037"/>
              <a:gd name="connsiteY27" fmla="*/ 898524 h 6877049"/>
              <a:gd name="connsiteX28" fmla="*/ 417194 w 6057037"/>
              <a:gd name="connsiteY28" fmla="*/ 887094 h 6877049"/>
              <a:gd name="connsiteX29" fmla="*/ 383856 w 6057037"/>
              <a:gd name="connsiteY29" fmla="*/ 887094 h 6877049"/>
              <a:gd name="connsiteX30" fmla="*/ 383856 w 6057037"/>
              <a:gd name="connsiteY30" fmla="*/ 876617 h 6877049"/>
              <a:gd name="connsiteX31" fmla="*/ 419099 w 6057037"/>
              <a:gd name="connsiteY31" fmla="*/ 876617 h 6877049"/>
              <a:gd name="connsiteX32" fmla="*/ 419099 w 6057037"/>
              <a:gd name="connsiteY32" fmla="*/ 865187 h 6877049"/>
              <a:gd name="connsiteX33" fmla="*/ 251459 w 6057037"/>
              <a:gd name="connsiteY33" fmla="*/ 831849 h 6877049"/>
              <a:gd name="connsiteX34" fmla="*/ 276224 w 6057037"/>
              <a:gd name="connsiteY34" fmla="*/ 831849 h 6877049"/>
              <a:gd name="connsiteX35" fmla="*/ 281939 w 6057037"/>
              <a:gd name="connsiteY35" fmla="*/ 837564 h 6877049"/>
              <a:gd name="connsiteX36" fmla="*/ 276224 w 6057037"/>
              <a:gd name="connsiteY36" fmla="*/ 843279 h 6877049"/>
              <a:gd name="connsiteX37" fmla="*/ 251459 w 6057037"/>
              <a:gd name="connsiteY37" fmla="*/ 843279 h 6877049"/>
              <a:gd name="connsiteX38" fmla="*/ 332422 w 6057037"/>
              <a:gd name="connsiteY38" fmla="*/ 811847 h 6877049"/>
              <a:gd name="connsiteX39" fmla="*/ 341947 w 6057037"/>
              <a:gd name="connsiteY39" fmla="*/ 833755 h 6877049"/>
              <a:gd name="connsiteX40" fmla="*/ 322897 w 6057037"/>
              <a:gd name="connsiteY40" fmla="*/ 833755 h 6877049"/>
              <a:gd name="connsiteX41" fmla="*/ 518160 w 6057037"/>
              <a:gd name="connsiteY41" fmla="*/ 810895 h 6877049"/>
              <a:gd name="connsiteX42" fmla="*/ 538161 w 6057037"/>
              <a:gd name="connsiteY42" fmla="*/ 810895 h 6877049"/>
              <a:gd name="connsiteX43" fmla="*/ 543877 w 6057037"/>
              <a:gd name="connsiteY43" fmla="*/ 815658 h 6877049"/>
              <a:gd name="connsiteX44" fmla="*/ 538161 w 6057037"/>
              <a:gd name="connsiteY44" fmla="*/ 821373 h 6877049"/>
              <a:gd name="connsiteX45" fmla="*/ 518160 w 6057037"/>
              <a:gd name="connsiteY45" fmla="*/ 821373 h 6877049"/>
              <a:gd name="connsiteX46" fmla="*/ 518160 w 6057037"/>
              <a:gd name="connsiteY46" fmla="*/ 810895 h 6877049"/>
              <a:gd name="connsiteX47" fmla="*/ 251459 w 6057037"/>
              <a:gd name="connsiteY47" fmla="*/ 810894 h 6877049"/>
              <a:gd name="connsiteX48" fmla="*/ 275271 w 6057037"/>
              <a:gd name="connsiteY48" fmla="*/ 810894 h 6877049"/>
              <a:gd name="connsiteX49" fmla="*/ 280034 w 6057037"/>
              <a:gd name="connsiteY49" fmla="*/ 815657 h 6877049"/>
              <a:gd name="connsiteX50" fmla="*/ 275271 w 6057037"/>
              <a:gd name="connsiteY50" fmla="*/ 820419 h 6877049"/>
              <a:gd name="connsiteX51" fmla="*/ 251459 w 6057037"/>
              <a:gd name="connsiteY51" fmla="*/ 820419 h 6877049"/>
              <a:gd name="connsiteX52" fmla="*/ 361950 w 6057037"/>
              <a:gd name="connsiteY52" fmla="*/ 798513 h 6877049"/>
              <a:gd name="connsiteX53" fmla="*/ 388620 w 6057037"/>
              <a:gd name="connsiteY53" fmla="*/ 835660 h 6877049"/>
              <a:gd name="connsiteX54" fmla="*/ 388620 w 6057037"/>
              <a:gd name="connsiteY54" fmla="*/ 855663 h 6877049"/>
              <a:gd name="connsiteX55" fmla="*/ 401955 w 6057037"/>
              <a:gd name="connsiteY55" fmla="*/ 855663 h 6877049"/>
              <a:gd name="connsiteX56" fmla="*/ 401955 w 6057037"/>
              <a:gd name="connsiteY56" fmla="*/ 835660 h 6877049"/>
              <a:gd name="connsiteX57" fmla="*/ 428625 w 6057037"/>
              <a:gd name="connsiteY57" fmla="*/ 798513 h 6877049"/>
              <a:gd name="connsiteX58" fmla="*/ 413385 w 6057037"/>
              <a:gd name="connsiteY58" fmla="*/ 798513 h 6877049"/>
              <a:gd name="connsiteX59" fmla="*/ 396240 w 6057037"/>
              <a:gd name="connsiteY59" fmla="*/ 823278 h 6877049"/>
              <a:gd name="connsiteX60" fmla="*/ 377190 w 6057037"/>
              <a:gd name="connsiteY60" fmla="*/ 798513 h 6877049"/>
              <a:gd name="connsiteX61" fmla="*/ 438150 w 6057037"/>
              <a:gd name="connsiteY61" fmla="*/ 798513 h 6877049"/>
              <a:gd name="connsiteX62" fmla="*/ 438150 w 6057037"/>
              <a:gd name="connsiteY62" fmla="*/ 855663 h 6877049"/>
              <a:gd name="connsiteX63" fmla="*/ 485775 w 6057037"/>
              <a:gd name="connsiteY63" fmla="*/ 855663 h 6877049"/>
              <a:gd name="connsiteX64" fmla="*/ 485775 w 6057037"/>
              <a:gd name="connsiteY64" fmla="*/ 844233 h 6877049"/>
              <a:gd name="connsiteX65" fmla="*/ 450532 w 6057037"/>
              <a:gd name="connsiteY65" fmla="*/ 844233 h 6877049"/>
              <a:gd name="connsiteX66" fmla="*/ 450532 w 6057037"/>
              <a:gd name="connsiteY66" fmla="*/ 831850 h 6877049"/>
              <a:gd name="connsiteX67" fmla="*/ 485775 w 6057037"/>
              <a:gd name="connsiteY67" fmla="*/ 831850 h 6877049"/>
              <a:gd name="connsiteX68" fmla="*/ 485775 w 6057037"/>
              <a:gd name="connsiteY68" fmla="*/ 820420 h 6877049"/>
              <a:gd name="connsiteX69" fmla="*/ 450532 w 6057037"/>
              <a:gd name="connsiteY69" fmla="*/ 820420 h 6877049"/>
              <a:gd name="connsiteX70" fmla="*/ 450532 w 6057037"/>
              <a:gd name="connsiteY70" fmla="*/ 809943 h 6877049"/>
              <a:gd name="connsiteX71" fmla="*/ 485775 w 6057037"/>
              <a:gd name="connsiteY71" fmla="*/ 809943 h 6877049"/>
              <a:gd name="connsiteX72" fmla="*/ 485775 w 6057037"/>
              <a:gd name="connsiteY72" fmla="*/ 798513 h 6877049"/>
              <a:gd name="connsiteX73" fmla="*/ 504825 w 6057037"/>
              <a:gd name="connsiteY73" fmla="*/ 798513 h 6877049"/>
              <a:gd name="connsiteX74" fmla="*/ 504825 w 6057037"/>
              <a:gd name="connsiteY74" fmla="*/ 855663 h 6877049"/>
              <a:gd name="connsiteX75" fmla="*/ 518160 w 6057037"/>
              <a:gd name="connsiteY75" fmla="*/ 855663 h 6877049"/>
              <a:gd name="connsiteX76" fmla="*/ 518160 w 6057037"/>
              <a:gd name="connsiteY76" fmla="*/ 833755 h 6877049"/>
              <a:gd name="connsiteX77" fmla="*/ 528637 w 6057037"/>
              <a:gd name="connsiteY77" fmla="*/ 833755 h 6877049"/>
              <a:gd name="connsiteX78" fmla="*/ 545782 w 6057037"/>
              <a:gd name="connsiteY78" fmla="*/ 855663 h 6877049"/>
              <a:gd name="connsiteX79" fmla="*/ 561975 w 6057037"/>
              <a:gd name="connsiteY79" fmla="*/ 855663 h 6877049"/>
              <a:gd name="connsiteX80" fmla="*/ 544829 w 6057037"/>
              <a:gd name="connsiteY80" fmla="*/ 833755 h 6877049"/>
              <a:gd name="connsiteX81" fmla="*/ 558164 w 6057037"/>
              <a:gd name="connsiteY81" fmla="*/ 816610 h 6877049"/>
              <a:gd name="connsiteX82" fmla="*/ 540067 w 6057037"/>
              <a:gd name="connsiteY82" fmla="*/ 798513 h 6877049"/>
              <a:gd name="connsiteX83" fmla="*/ 504825 w 6057037"/>
              <a:gd name="connsiteY83" fmla="*/ 798513 h 6877049"/>
              <a:gd name="connsiteX84" fmla="*/ 326707 w 6057037"/>
              <a:gd name="connsiteY84" fmla="*/ 798512 h 6877049"/>
              <a:gd name="connsiteX85" fmla="*/ 300037 w 6057037"/>
              <a:gd name="connsiteY85" fmla="*/ 855662 h 6877049"/>
              <a:gd name="connsiteX86" fmla="*/ 314324 w 6057037"/>
              <a:gd name="connsiteY86" fmla="*/ 855662 h 6877049"/>
              <a:gd name="connsiteX87" fmla="*/ 318134 w 6057037"/>
              <a:gd name="connsiteY87" fmla="*/ 845184 h 6877049"/>
              <a:gd name="connsiteX88" fmla="*/ 347662 w 6057037"/>
              <a:gd name="connsiteY88" fmla="*/ 845184 h 6877049"/>
              <a:gd name="connsiteX89" fmla="*/ 352424 w 6057037"/>
              <a:gd name="connsiteY89" fmla="*/ 855662 h 6877049"/>
              <a:gd name="connsiteX90" fmla="*/ 366712 w 6057037"/>
              <a:gd name="connsiteY90" fmla="*/ 855662 h 6877049"/>
              <a:gd name="connsiteX91" fmla="*/ 339089 w 6057037"/>
              <a:gd name="connsiteY91" fmla="*/ 798512 h 6877049"/>
              <a:gd name="connsiteX92" fmla="*/ 238124 w 6057037"/>
              <a:gd name="connsiteY92" fmla="*/ 798512 h 6877049"/>
              <a:gd name="connsiteX93" fmla="*/ 238124 w 6057037"/>
              <a:gd name="connsiteY93" fmla="*/ 855662 h 6877049"/>
              <a:gd name="connsiteX94" fmla="*/ 278129 w 6057037"/>
              <a:gd name="connsiteY94" fmla="*/ 855662 h 6877049"/>
              <a:gd name="connsiteX95" fmla="*/ 295274 w 6057037"/>
              <a:gd name="connsiteY95" fmla="*/ 838517 h 6877049"/>
              <a:gd name="connsiteX96" fmla="*/ 289559 w 6057037"/>
              <a:gd name="connsiteY96" fmla="*/ 826134 h 6877049"/>
              <a:gd name="connsiteX97" fmla="*/ 293369 w 6057037"/>
              <a:gd name="connsiteY97" fmla="*/ 815657 h 6877049"/>
              <a:gd name="connsiteX98" fmla="*/ 277176 w 6057037"/>
              <a:gd name="connsiteY98" fmla="*/ 798512 h 6877049"/>
              <a:gd name="connsiteX99" fmla="*/ 238124 w 6057037"/>
              <a:gd name="connsiteY99" fmla="*/ 798512 h 6877049"/>
              <a:gd name="connsiteX100" fmla="*/ 394334 w 6057037"/>
              <a:gd name="connsiteY100" fmla="*/ 745172 h 6877049"/>
              <a:gd name="connsiteX101" fmla="*/ 403859 w 6057037"/>
              <a:gd name="connsiteY101" fmla="*/ 767079 h 6877049"/>
              <a:gd name="connsiteX102" fmla="*/ 384809 w 6057037"/>
              <a:gd name="connsiteY102" fmla="*/ 767079 h 6877049"/>
              <a:gd name="connsiteX103" fmla="*/ 388619 w 6057037"/>
              <a:gd name="connsiteY103" fmla="*/ 731837 h 6877049"/>
              <a:gd name="connsiteX104" fmla="*/ 361949 w 6057037"/>
              <a:gd name="connsiteY104" fmla="*/ 788987 h 6877049"/>
              <a:gd name="connsiteX105" fmla="*/ 376236 w 6057037"/>
              <a:gd name="connsiteY105" fmla="*/ 788987 h 6877049"/>
              <a:gd name="connsiteX106" fmla="*/ 380046 w 6057037"/>
              <a:gd name="connsiteY106" fmla="*/ 778509 h 6877049"/>
              <a:gd name="connsiteX107" fmla="*/ 409574 w 6057037"/>
              <a:gd name="connsiteY107" fmla="*/ 778509 h 6877049"/>
              <a:gd name="connsiteX108" fmla="*/ 414336 w 6057037"/>
              <a:gd name="connsiteY108" fmla="*/ 788987 h 6877049"/>
              <a:gd name="connsiteX109" fmla="*/ 428624 w 6057037"/>
              <a:gd name="connsiteY109" fmla="*/ 788987 h 6877049"/>
              <a:gd name="connsiteX110" fmla="*/ 401001 w 6057037"/>
              <a:gd name="connsiteY110" fmla="*/ 731837 h 6877049"/>
              <a:gd name="connsiteX111" fmla="*/ 384810 w 6057037"/>
              <a:gd name="connsiteY111" fmla="*/ 698500 h 6877049"/>
              <a:gd name="connsiteX112" fmla="*/ 409575 w 6057037"/>
              <a:gd name="connsiteY112" fmla="*/ 698500 h 6877049"/>
              <a:gd name="connsiteX113" fmla="*/ 415290 w 6057037"/>
              <a:gd name="connsiteY113" fmla="*/ 704215 h 6877049"/>
              <a:gd name="connsiteX114" fmla="*/ 409575 w 6057037"/>
              <a:gd name="connsiteY114" fmla="*/ 709930 h 6877049"/>
              <a:gd name="connsiteX115" fmla="*/ 384810 w 6057037"/>
              <a:gd name="connsiteY115" fmla="*/ 709930 h 6877049"/>
              <a:gd name="connsiteX116" fmla="*/ 384810 w 6057037"/>
              <a:gd name="connsiteY116" fmla="*/ 677545 h 6877049"/>
              <a:gd name="connsiteX117" fmla="*/ 408622 w 6057037"/>
              <a:gd name="connsiteY117" fmla="*/ 677545 h 6877049"/>
              <a:gd name="connsiteX118" fmla="*/ 413385 w 6057037"/>
              <a:gd name="connsiteY118" fmla="*/ 682308 h 6877049"/>
              <a:gd name="connsiteX119" fmla="*/ 408622 w 6057037"/>
              <a:gd name="connsiteY119" fmla="*/ 687070 h 6877049"/>
              <a:gd name="connsiteX120" fmla="*/ 384810 w 6057037"/>
              <a:gd name="connsiteY120" fmla="*/ 687070 h 6877049"/>
              <a:gd name="connsiteX121" fmla="*/ 371475 w 6057037"/>
              <a:gd name="connsiteY121" fmla="*/ 665163 h 6877049"/>
              <a:gd name="connsiteX122" fmla="*/ 371475 w 6057037"/>
              <a:gd name="connsiteY122" fmla="*/ 722313 h 6877049"/>
              <a:gd name="connsiteX123" fmla="*/ 411480 w 6057037"/>
              <a:gd name="connsiteY123" fmla="*/ 722313 h 6877049"/>
              <a:gd name="connsiteX124" fmla="*/ 428625 w 6057037"/>
              <a:gd name="connsiteY124" fmla="*/ 705168 h 6877049"/>
              <a:gd name="connsiteX125" fmla="*/ 423862 w 6057037"/>
              <a:gd name="connsiteY125" fmla="*/ 692785 h 6877049"/>
              <a:gd name="connsiteX126" fmla="*/ 426720 w 6057037"/>
              <a:gd name="connsiteY126" fmla="*/ 682308 h 6877049"/>
              <a:gd name="connsiteX127" fmla="*/ 410527 w 6057037"/>
              <a:gd name="connsiteY127" fmla="*/ 665163 h 6877049"/>
              <a:gd name="connsiteX128" fmla="*/ 371475 w 6057037"/>
              <a:gd name="connsiteY128" fmla="*/ 665163 h 6877049"/>
              <a:gd name="connsiteX129" fmla="*/ 395906 w 6057037"/>
              <a:gd name="connsiteY129" fmla="*/ 651618 h 6877049"/>
              <a:gd name="connsiteX130" fmla="*/ 556451 w 6057037"/>
              <a:gd name="connsiteY130" fmla="*/ 732650 h 6877049"/>
              <a:gd name="connsiteX131" fmla="*/ 580894 w 6057037"/>
              <a:gd name="connsiteY131" fmla="*/ 776411 h 6877049"/>
              <a:gd name="connsiteX132" fmla="*/ 580897 w 6057037"/>
              <a:gd name="connsiteY132" fmla="*/ 776421 h 6877049"/>
              <a:gd name="connsiteX133" fmla="*/ 556803 w 6057037"/>
              <a:gd name="connsiteY133" fmla="*/ 733457 h 6877049"/>
              <a:gd name="connsiteX134" fmla="*/ 396257 w 6057037"/>
              <a:gd name="connsiteY134" fmla="*/ 652463 h 6877049"/>
              <a:gd name="connsiteX135" fmla="*/ 570519 w 6057037"/>
              <a:gd name="connsiteY135" fmla="*/ 814450 h 6877049"/>
              <a:gd name="connsiteX136" fmla="*/ 570870 w 6057037"/>
              <a:gd name="connsiteY136" fmla="*/ 826722 h 6877049"/>
              <a:gd name="connsiteX137" fmla="*/ 570519 w 6057037"/>
              <a:gd name="connsiteY137" fmla="*/ 838994 h 6877049"/>
              <a:gd name="connsiteX138" fmla="*/ 396257 w 6057037"/>
              <a:gd name="connsiteY138" fmla="*/ 1000806 h 6877049"/>
              <a:gd name="connsiteX139" fmla="*/ 235711 w 6057037"/>
              <a:gd name="connsiteY139" fmla="*/ 919988 h 6877049"/>
              <a:gd name="connsiteX140" fmla="*/ 211203 w 6057037"/>
              <a:gd name="connsiteY140" fmla="*/ 876226 h 6877049"/>
              <a:gd name="connsiteX141" fmla="*/ 211136 w 6057037"/>
              <a:gd name="connsiteY141" fmla="*/ 875964 h 6877049"/>
              <a:gd name="connsiteX142" fmla="*/ 235360 w 6057037"/>
              <a:gd name="connsiteY142" fmla="*/ 919269 h 6877049"/>
              <a:gd name="connsiteX143" fmla="*/ 395906 w 6057037"/>
              <a:gd name="connsiteY143" fmla="*/ 1000125 h 6877049"/>
              <a:gd name="connsiteX144" fmla="*/ 221644 w 6057037"/>
              <a:gd name="connsiteY144" fmla="*/ 838237 h 6877049"/>
              <a:gd name="connsiteX145" fmla="*/ 221292 w 6057037"/>
              <a:gd name="connsiteY145" fmla="*/ 825959 h 6877049"/>
              <a:gd name="connsiteX146" fmla="*/ 221644 w 6057037"/>
              <a:gd name="connsiteY146" fmla="*/ 813682 h 6877049"/>
              <a:gd name="connsiteX147" fmla="*/ 395906 w 6057037"/>
              <a:gd name="connsiteY147" fmla="*/ 651618 h 6877049"/>
              <a:gd name="connsiteX148" fmla="*/ 395906 w 6057037"/>
              <a:gd name="connsiteY148" fmla="*/ 627063 h 6877049"/>
              <a:gd name="connsiteX149" fmla="*/ 196850 w 6057037"/>
              <a:gd name="connsiteY149" fmla="*/ 813682 h 6877049"/>
              <a:gd name="connsiteX150" fmla="*/ 197141 w 6057037"/>
              <a:gd name="connsiteY150" fmla="*/ 816580 h 6877049"/>
              <a:gd name="connsiteX151" fmla="*/ 196850 w 6057037"/>
              <a:gd name="connsiteY151" fmla="*/ 826722 h 6877049"/>
              <a:gd name="connsiteX152" fmla="*/ 197202 w 6057037"/>
              <a:gd name="connsiteY152" fmla="*/ 838994 h 6877049"/>
              <a:gd name="connsiteX153" fmla="*/ 396257 w 6057037"/>
              <a:gd name="connsiteY153" fmla="*/ 1025525 h 6877049"/>
              <a:gd name="connsiteX154" fmla="*/ 595313 w 6057037"/>
              <a:gd name="connsiteY154" fmla="*/ 838994 h 6877049"/>
              <a:gd name="connsiteX155" fmla="*/ 595023 w 6057037"/>
              <a:gd name="connsiteY155" fmla="*/ 836067 h 6877049"/>
              <a:gd name="connsiteX156" fmla="*/ 595313 w 6057037"/>
              <a:gd name="connsiteY156" fmla="*/ 825959 h 6877049"/>
              <a:gd name="connsiteX157" fmla="*/ 594961 w 6057037"/>
              <a:gd name="connsiteY157" fmla="*/ 813682 h 6877049"/>
              <a:gd name="connsiteX158" fmla="*/ 395906 w 6057037"/>
              <a:gd name="connsiteY158" fmla="*/ 627063 h 6877049"/>
              <a:gd name="connsiteX159" fmla="*/ 0 w 6057037"/>
              <a:gd name="connsiteY159" fmla="*/ 0 h 6877049"/>
              <a:gd name="connsiteX160" fmla="*/ 4723899 w 6057037"/>
              <a:gd name="connsiteY160" fmla="*/ 0 h 6877049"/>
              <a:gd name="connsiteX161" fmla="*/ 6057037 w 6057037"/>
              <a:gd name="connsiteY161" fmla="*/ 0 h 6877049"/>
              <a:gd name="connsiteX162" fmla="*/ 5820308 w 6057037"/>
              <a:gd name="connsiteY162" fmla="*/ 1220872 h 6877049"/>
              <a:gd name="connsiteX163" fmla="*/ 3753506 w 6057037"/>
              <a:gd name="connsiteY163" fmla="*/ 6877049 h 6877049"/>
              <a:gd name="connsiteX164" fmla="*/ 0 w 6057037"/>
              <a:gd name="connsiteY164" fmla="*/ 6877049 h 6877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</a:cxnLst>
            <a:rect l="l" t="t" r="r" b="b"/>
            <a:pathLst>
              <a:path w="6057037" h="6877049">
                <a:moveTo>
                  <a:pt x="5798642" y="1332612"/>
                </a:moveTo>
                <a:lnTo>
                  <a:pt x="4723899" y="6875332"/>
                </a:lnTo>
                <a:lnTo>
                  <a:pt x="4723899" y="6877049"/>
                </a:lnTo>
                <a:lnTo>
                  <a:pt x="3772669" y="6877049"/>
                </a:lnTo>
                <a:close/>
                <a:moveTo>
                  <a:pt x="384809" y="944244"/>
                </a:moveTo>
                <a:cubicBezTo>
                  <a:pt x="384809" y="944244"/>
                  <a:pt x="384809" y="944244"/>
                  <a:pt x="405764" y="944244"/>
                </a:cubicBezTo>
                <a:cubicBezTo>
                  <a:pt x="408621" y="944244"/>
                  <a:pt x="410526" y="947102"/>
                  <a:pt x="410526" y="949959"/>
                </a:cubicBezTo>
                <a:cubicBezTo>
                  <a:pt x="410526" y="952817"/>
                  <a:pt x="407669" y="954722"/>
                  <a:pt x="405764" y="954722"/>
                </a:cubicBezTo>
                <a:cubicBezTo>
                  <a:pt x="405764" y="954722"/>
                  <a:pt x="405764" y="954722"/>
                  <a:pt x="384809" y="954722"/>
                </a:cubicBezTo>
                <a:cubicBezTo>
                  <a:pt x="384809" y="954722"/>
                  <a:pt x="384809" y="954722"/>
                  <a:pt x="384809" y="944244"/>
                </a:cubicBezTo>
                <a:close/>
                <a:moveTo>
                  <a:pt x="371474" y="931862"/>
                </a:moveTo>
                <a:cubicBezTo>
                  <a:pt x="371474" y="931862"/>
                  <a:pt x="371474" y="931862"/>
                  <a:pt x="371474" y="989012"/>
                </a:cubicBezTo>
                <a:lnTo>
                  <a:pt x="383856" y="989012"/>
                </a:lnTo>
                <a:cubicBezTo>
                  <a:pt x="383856" y="989012"/>
                  <a:pt x="383856" y="989012"/>
                  <a:pt x="383856" y="967104"/>
                </a:cubicBezTo>
                <a:cubicBezTo>
                  <a:pt x="383856" y="967104"/>
                  <a:pt x="383856" y="967104"/>
                  <a:pt x="398144" y="967104"/>
                </a:cubicBezTo>
                <a:cubicBezTo>
                  <a:pt x="398144" y="967104"/>
                  <a:pt x="398144" y="967104"/>
                  <a:pt x="413384" y="989012"/>
                </a:cubicBezTo>
                <a:cubicBezTo>
                  <a:pt x="413384" y="989012"/>
                  <a:pt x="413384" y="989012"/>
                  <a:pt x="428624" y="989012"/>
                </a:cubicBezTo>
                <a:cubicBezTo>
                  <a:pt x="428624" y="989012"/>
                  <a:pt x="428624" y="989012"/>
                  <a:pt x="412431" y="966152"/>
                </a:cubicBezTo>
                <a:cubicBezTo>
                  <a:pt x="419099" y="964247"/>
                  <a:pt x="422909" y="957579"/>
                  <a:pt x="422909" y="949959"/>
                </a:cubicBezTo>
                <a:cubicBezTo>
                  <a:pt x="422909" y="939482"/>
                  <a:pt x="416241" y="931862"/>
                  <a:pt x="406716" y="931862"/>
                </a:cubicBezTo>
                <a:cubicBezTo>
                  <a:pt x="406716" y="931862"/>
                  <a:pt x="406716" y="931862"/>
                  <a:pt x="371474" y="931862"/>
                </a:cubicBezTo>
                <a:close/>
                <a:moveTo>
                  <a:pt x="371474" y="865187"/>
                </a:moveTo>
                <a:lnTo>
                  <a:pt x="371474" y="922337"/>
                </a:lnTo>
                <a:lnTo>
                  <a:pt x="419099" y="922337"/>
                </a:lnTo>
                <a:lnTo>
                  <a:pt x="419099" y="910907"/>
                </a:lnTo>
                <a:lnTo>
                  <a:pt x="383856" y="910907"/>
                </a:lnTo>
                <a:lnTo>
                  <a:pt x="383856" y="898524"/>
                </a:lnTo>
                <a:lnTo>
                  <a:pt x="417194" y="898524"/>
                </a:lnTo>
                <a:lnTo>
                  <a:pt x="417194" y="887094"/>
                </a:lnTo>
                <a:lnTo>
                  <a:pt x="383856" y="887094"/>
                </a:lnTo>
                <a:lnTo>
                  <a:pt x="383856" y="876617"/>
                </a:lnTo>
                <a:lnTo>
                  <a:pt x="419099" y="876617"/>
                </a:lnTo>
                <a:lnTo>
                  <a:pt x="419099" y="865187"/>
                </a:lnTo>
                <a:close/>
                <a:moveTo>
                  <a:pt x="251459" y="831849"/>
                </a:moveTo>
                <a:cubicBezTo>
                  <a:pt x="251459" y="831849"/>
                  <a:pt x="251459" y="831849"/>
                  <a:pt x="276224" y="831849"/>
                </a:cubicBezTo>
                <a:cubicBezTo>
                  <a:pt x="279081" y="831849"/>
                  <a:pt x="281939" y="834707"/>
                  <a:pt x="281939" y="837564"/>
                </a:cubicBezTo>
                <a:cubicBezTo>
                  <a:pt x="281939" y="840422"/>
                  <a:pt x="279081" y="843279"/>
                  <a:pt x="276224" y="843279"/>
                </a:cubicBezTo>
                <a:cubicBezTo>
                  <a:pt x="276224" y="843279"/>
                  <a:pt x="276224" y="843279"/>
                  <a:pt x="251459" y="843279"/>
                </a:cubicBezTo>
                <a:close/>
                <a:moveTo>
                  <a:pt x="332422" y="811847"/>
                </a:moveTo>
                <a:lnTo>
                  <a:pt x="341947" y="833755"/>
                </a:lnTo>
                <a:lnTo>
                  <a:pt x="322897" y="833755"/>
                </a:lnTo>
                <a:close/>
                <a:moveTo>
                  <a:pt x="518160" y="810895"/>
                </a:moveTo>
                <a:cubicBezTo>
                  <a:pt x="518160" y="810895"/>
                  <a:pt x="518160" y="810895"/>
                  <a:pt x="538161" y="810895"/>
                </a:cubicBezTo>
                <a:cubicBezTo>
                  <a:pt x="541972" y="810895"/>
                  <a:pt x="543877" y="812800"/>
                  <a:pt x="543877" y="815658"/>
                </a:cubicBezTo>
                <a:cubicBezTo>
                  <a:pt x="543877" y="818515"/>
                  <a:pt x="541020" y="821373"/>
                  <a:pt x="538161" y="821373"/>
                </a:cubicBezTo>
                <a:cubicBezTo>
                  <a:pt x="538161" y="821373"/>
                  <a:pt x="538161" y="821373"/>
                  <a:pt x="518160" y="821373"/>
                </a:cubicBezTo>
                <a:cubicBezTo>
                  <a:pt x="518160" y="821373"/>
                  <a:pt x="518160" y="821373"/>
                  <a:pt x="518160" y="810895"/>
                </a:cubicBezTo>
                <a:close/>
                <a:moveTo>
                  <a:pt x="251459" y="810894"/>
                </a:moveTo>
                <a:cubicBezTo>
                  <a:pt x="251459" y="810894"/>
                  <a:pt x="251459" y="810894"/>
                  <a:pt x="275271" y="810894"/>
                </a:cubicBezTo>
                <a:cubicBezTo>
                  <a:pt x="278129" y="810894"/>
                  <a:pt x="280034" y="812799"/>
                  <a:pt x="280034" y="815657"/>
                </a:cubicBezTo>
                <a:cubicBezTo>
                  <a:pt x="280034" y="818514"/>
                  <a:pt x="278129" y="820419"/>
                  <a:pt x="275271" y="820419"/>
                </a:cubicBezTo>
                <a:cubicBezTo>
                  <a:pt x="275271" y="820419"/>
                  <a:pt x="275271" y="820419"/>
                  <a:pt x="251459" y="820419"/>
                </a:cubicBezTo>
                <a:close/>
                <a:moveTo>
                  <a:pt x="361950" y="798513"/>
                </a:moveTo>
                <a:lnTo>
                  <a:pt x="388620" y="835660"/>
                </a:lnTo>
                <a:lnTo>
                  <a:pt x="388620" y="855663"/>
                </a:lnTo>
                <a:lnTo>
                  <a:pt x="401955" y="855663"/>
                </a:lnTo>
                <a:lnTo>
                  <a:pt x="401955" y="835660"/>
                </a:lnTo>
                <a:lnTo>
                  <a:pt x="428625" y="798513"/>
                </a:lnTo>
                <a:lnTo>
                  <a:pt x="413385" y="798513"/>
                </a:lnTo>
                <a:lnTo>
                  <a:pt x="396240" y="823278"/>
                </a:lnTo>
                <a:lnTo>
                  <a:pt x="377190" y="798513"/>
                </a:lnTo>
                <a:close/>
                <a:moveTo>
                  <a:pt x="438150" y="798513"/>
                </a:moveTo>
                <a:lnTo>
                  <a:pt x="438150" y="855663"/>
                </a:lnTo>
                <a:lnTo>
                  <a:pt x="485775" y="855663"/>
                </a:lnTo>
                <a:lnTo>
                  <a:pt x="485775" y="844233"/>
                </a:lnTo>
                <a:lnTo>
                  <a:pt x="450532" y="844233"/>
                </a:lnTo>
                <a:lnTo>
                  <a:pt x="450532" y="831850"/>
                </a:lnTo>
                <a:lnTo>
                  <a:pt x="485775" y="831850"/>
                </a:lnTo>
                <a:lnTo>
                  <a:pt x="485775" y="820420"/>
                </a:lnTo>
                <a:lnTo>
                  <a:pt x="450532" y="820420"/>
                </a:lnTo>
                <a:lnTo>
                  <a:pt x="450532" y="809943"/>
                </a:lnTo>
                <a:lnTo>
                  <a:pt x="485775" y="809943"/>
                </a:lnTo>
                <a:lnTo>
                  <a:pt x="485775" y="798513"/>
                </a:lnTo>
                <a:close/>
                <a:moveTo>
                  <a:pt x="504825" y="798513"/>
                </a:moveTo>
                <a:cubicBezTo>
                  <a:pt x="504825" y="798513"/>
                  <a:pt x="504825" y="798513"/>
                  <a:pt x="504825" y="855663"/>
                </a:cubicBezTo>
                <a:cubicBezTo>
                  <a:pt x="504825" y="855663"/>
                  <a:pt x="504825" y="855663"/>
                  <a:pt x="518160" y="855663"/>
                </a:cubicBezTo>
                <a:cubicBezTo>
                  <a:pt x="518160" y="855663"/>
                  <a:pt x="518160" y="855663"/>
                  <a:pt x="518160" y="833755"/>
                </a:cubicBezTo>
                <a:cubicBezTo>
                  <a:pt x="518160" y="833755"/>
                  <a:pt x="518160" y="833755"/>
                  <a:pt x="528637" y="833755"/>
                </a:cubicBezTo>
                <a:lnTo>
                  <a:pt x="545782" y="855663"/>
                </a:lnTo>
                <a:cubicBezTo>
                  <a:pt x="545782" y="855663"/>
                  <a:pt x="545782" y="855663"/>
                  <a:pt x="561975" y="855663"/>
                </a:cubicBezTo>
                <a:cubicBezTo>
                  <a:pt x="561975" y="855663"/>
                  <a:pt x="561975" y="855663"/>
                  <a:pt x="544829" y="833755"/>
                </a:cubicBezTo>
                <a:cubicBezTo>
                  <a:pt x="552450" y="830898"/>
                  <a:pt x="558164" y="824230"/>
                  <a:pt x="558164" y="816610"/>
                </a:cubicBezTo>
                <a:cubicBezTo>
                  <a:pt x="558164" y="806133"/>
                  <a:pt x="549592" y="798513"/>
                  <a:pt x="540067" y="798513"/>
                </a:cubicBezTo>
                <a:cubicBezTo>
                  <a:pt x="540067" y="798513"/>
                  <a:pt x="540067" y="798513"/>
                  <a:pt x="504825" y="798513"/>
                </a:cubicBezTo>
                <a:close/>
                <a:moveTo>
                  <a:pt x="326707" y="798512"/>
                </a:moveTo>
                <a:lnTo>
                  <a:pt x="300037" y="855662"/>
                </a:lnTo>
                <a:lnTo>
                  <a:pt x="314324" y="855662"/>
                </a:lnTo>
                <a:lnTo>
                  <a:pt x="318134" y="845184"/>
                </a:lnTo>
                <a:lnTo>
                  <a:pt x="347662" y="845184"/>
                </a:lnTo>
                <a:lnTo>
                  <a:pt x="352424" y="855662"/>
                </a:lnTo>
                <a:lnTo>
                  <a:pt x="366712" y="855662"/>
                </a:lnTo>
                <a:lnTo>
                  <a:pt x="339089" y="798512"/>
                </a:lnTo>
                <a:close/>
                <a:moveTo>
                  <a:pt x="238124" y="798512"/>
                </a:moveTo>
                <a:cubicBezTo>
                  <a:pt x="238124" y="798512"/>
                  <a:pt x="238124" y="798512"/>
                  <a:pt x="238124" y="855662"/>
                </a:cubicBezTo>
                <a:cubicBezTo>
                  <a:pt x="238124" y="855662"/>
                  <a:pt x="238124" y="855662"/>
                  <a:pt x="278129" y="855662"/>
                </a:cubicBezTo>
                <a:cubicBezTo>
                  <a:pt x="287654" y="855662"/>
                  <a:pt x="295274" y="848042"/>
                  <a:pt x="295274" y="838517"/>
                </a:cubicBezTo>
                <a:cubicBezTo>
                  <a:pt x="295274" y="833754"/>
                  <a:pt x="293369" y="828992"/>
                  <a:pt x="289559" y="826134"/>
                </a:cubicBezTo>
                <a:cubicBezTo>
                  <a:pt x="292416" y="823277"/>
                  <a:pt x="294321" y="819467"/>
                  <a:pt x="293369" y="815657"/>
                </a:cubicBezTo>
                <a:cubicBezTo>
                  <a:pt x="293369" y="806132"/>
                  <a:pt x="286701" y="798512"/>
                  <a:pt x="277176" y="798512"/>
                </a:cubicBezTo>
                <a:cubicBezTo>
                  <a:pt x="277176" y="798512"/>
                  <a:pt x="277176" y="798512"/>
                  <a:pt x="238124" y="798512"/>
                </a:cubicBezTo>
                <a:close/>
                <a:moveTo>
                  <a:pt x="394334" y="745172"/>
                </a:moveTo>
                <a:lnTo>
                  <a:pt x="403859" y="767079"/>
                </a:lnTo>
                <a:lnTo>
                  <a:pt x="384809" y="767079"/>
                </a:lnTo>
                <a:close/>
                <a:moveTo>
                  <a:pt x="388619" y="731837"/>
                </a:moveTo>
                <a:lnTo>
                  <a:pt x="361949" y="788987"/>
                </a:lnTo>
                <a:lnTo>
                  <a:pt x="376236" y="788987"/>
                </a:lnTo>
                <a:lnTo>
                  <a:pt x="380046" y="778509"/>
                </a:lnTo>
                <a:lnTo>
                  <a:pt x="409574" y="778509"/>
                </a:lnTo>
                <a:lnTo>
                  <a:pt x="414336" y="788987"/>
                </a:lnTo>
                <a:lnTo>
                  <a:pt x="428624" y="788987"/>
                </a:lnTo>
                <a:lnTo>
                  <a:pt x="401001" y="731837"/>
                </a:lnTo>
                <a:close/>
                <a:moveTo>
                  <a:pt x="384810" y="698500"/>
                </a:moveTo>
                <a:cubicBezTo>
                  <a:pt x="384810" y="698500"/>
                  <a:pt x="384810" y="698500"/>
                  <a:pt x="409575" y="698500"/>
                </a:cubicBezTo>
                <a:cubicBezTo>
                  <a:pt x="413385" y="698500"/>
                  <a:pt x="415290" y="701358"/>
                  <a:pt x="415290" y="704215"/>
                </a:cubicBezTo>
                <a:cubicBezTo>
                  <a:pt x="415290" y="707073"/>
                  <a:pt x="412432" y="709930"/>
                  <a:pt x="409575" y="709930"/>
                </a:cubicBezTo>
                <a:cubicBezTo>
                  <a:pt x="409575" y="709930"/>
                  <a:pt x="409575" y="709930"/>
                  <a:pt x="384810" y="709930"/>
                </a:cubicBezTo>
                <a:close/>
                <a:moveTo>
                  <a:pt x="384810" y="677545"/>
                </a:moveTo>
                <a:cubicBezTo>
                  <a:pt x="384810" y="677545"/>
                  <a:pt x="384810" y="677545"/>
                  <a:pt x="408622" y="677545"/>
                </a:cubicBezTo>
                <a:cubicBezTo>
                  <a:pt x="411480" y="677545"/>
                  <a:pt x="413385" y="679450"/>
                  <a:pt x="413385" y="682308"/>
                </a:cubicBezTo>
                <a:cubicBezTo>
                  <a:pt x="413385" y="685165"/>
                  <a:pt x="411480" y="687070"/>
                  <a:pt x="408622" y="687070"/>
                </a:cubicBezTo>
                <a:cubicBezTo>
                  <a:pt x="408622" y="687070"/>
                  <a:pt x="408622" y="687070"/>
                  <a:pt x="384810" y="687070"/>
                </a:cubicBezTo>
                <a:close/>
                <a:moveTo>
                  <a:pt x="371475" y="665163"/>
                </a:moveTo>
                <a:cubicBezTo>
                  <a:pt x="371475" y="665163"/>
                  <a:pt x="371475" y="665163"/>
                  <a:pt x="371475" y="722313"/>
                </a:cubicBezTo>
                <a:cubicBezTo>
                  <a:pt x="371475" y="722313"/>
                  <a:pt x="371475" y="722313"/>
                  <a:pt x="411480" y="722313"/>
                </a:cubicBezTo>
                <a:cubicBezTo>
                  <a:pt x="421005" y="722313"/>
                  <a:pt x="428625" y="714693"/>
                  <a:pt x="428625" y="705168"/>
                </a:cubicBezTo>
                <a:cubicBezTo>
                  <a:pt x="428625" y="700405"/>
                  <a:pt x="426720" y="695643"/>
                  <a:pt x="423862" y="692785"/>
                </a:cubicBezTo>
                <a:cubicBezTo>
                  <a:pt x="425767" y="689928"/>
                  <a:pt x="427672" y="686118"/>
                  <a:pt x="426720" y="682308"/>
                </a:cubicBezTo>
                <a:cubicBezTo>
                  <a:pt x="426720" y="672783"/>
                  <a:pt x="420052" y="665163"/>
                  <a:pt x="410527" y="665163"/>
                </a:cubicBezTo>
                <a:cubicBezTo>
                  <a:pt x="410527" y="665163"/>
                  <a:pt x="410527" y="665163"/>
                  <a:pt x="371475" y="665163"/>
                </a:cubicBezTo>
                <a:close/>
                <a:moveTo>
                  <a:pt x="395906" y="651618"/>
                </a:moveTo>
                <a:cubicBezTo>
                  <a:pt x="461671" y="651618"/>
                  <a:pt x="520052" y="683540"/>
                  <a:pt x="556451" y="732650"/>
                </a:cubicBezTo>
                <a:cubicBezTo>
                  <a:pt x="566299" y="746068"/>
                  <a:pt x="574563" y="760757"/>
                  <a:pt x="580894" y="776411"/>
                </a:cubicBezTo>
                <a:lnTo>
                  <a:pt x="580897" y="776421"/>
                </a:lnTo>
                <a:lnTo>
                  <a:pt x="556803" y="733457"/>
                </a:lnTo>
                <a:cubicBezTo>
                  <a:pt x="520403" y="684370"/>
                  <a:pt x="462023" y="652463"/>
                  <a:pt x="396257" y="652463"/>
                </a:cubicBezTo>
                <a:cubicBezTo>
                  <a:pt x="488400" y="652463"/>
                  <a:pt x="564188" y="723990"/>
                  <a:pt x="570519" y="814450"/>
                </a:cubicBezTo>
                <a:cubicBezTo>
                  <a:pt x="570695" y="818483"/>
                  <a:pt x="570870" y="822515"/>
                  <a:pt x="570870" y="826722"/>
                </a:cubicBezTo>
                <a:cubicBezTo>
                  <a:pt x="570870" y="830754"/>
                  <a:pt x="570695" y="834962"/>
                  <a:pt x="570519" y="838994"/>
                </a:cubicBezTo>
                <a:cubicBezTo>
                  <a:pt x="564188" y="929279"/>
                  <a:pt x="488400" y="1000806"/>
                  <a:pt x="396257" y="1000806"/>
                </a:cubicBezTo>
                <a:cubicBezTo>
                  <a:pt x="330316" y="1000806"/>
                  <a:pt x="271935" y="969075"/>
                  <a:pt x="235711" y="919988"/>
                </a:cubicBezTo>
                <a:cubicBezTo>
                  <a:pt x="225776" y="906576"/>
                  <a:pt x="217512" y="891894"/>
                  <a:pt x="211203" y="876226"/>
                </a:cubicBezTo>
                <a:lnTo>
                  <a:pt x="211136" y="875964"/>
                </a:lnTo>
                <a:lnTo>
                  <a:pt x="235360" y="919269"/>
                </a:lnTo>
                <a:cubicBezTo>
                  <a:pt x="271760" y="968379"/>
                  <a:pt x="329964" y="1000125"/>
                  <a:pt x="395906" y="1000125"/>
                </a:cubicBezTo>
                <a:cubicBezTo>
                  <a:pt x="303763" y="1000125"/>
                  <a:pt x="227974" y="928565"/>
                  <a:pt x="221644" y="838237"/>
                </a:cubicBezTo>
                <a:cubicBezTo>
                  <a:pt x="221292" y="834203"/>
                  <a:pt x="221292" y="829993"/>
                  <a:pt x="221292" y="825959"/>
                </a:cubicBezTo>
                <a:cubicBezTo>
                  <a:pt x="221292" y="821750"/>
                  <a:pt x="221292" y="817716"/>
                  <a:pt x="221644" y="813682"/>
                </a:cubicBezTo>
                <a:cubicBezTo>
                  <a:pt x="227974" y="723179"/>
                  <a:pt x="303763" y="651618"/>
                  <a:pt x="395906" y="651618"/>
                </a:cubicBezTo>
                <a:close/>
                <a:moveTo>
                  <a:pt x="395906" y="627063"/>
                </a:moveTo>
                <a:cubicBezTo>
                  <a:pt x="289872" y="627063"/>
                  <a:pt x="203356" y="709498"/>
                  <a:pt x="196850" y="813682"/>
                </a:cubicBezTo>
                <a:lnTo>
                  <a:pt x="197141" y="816580"/>
                </a:lnTo>
                <a:lnTo>
                  <a:pt x="196850" y="826722"/>
                </a:lnTo>
                <a:cubicBezTo>
                  <a:pt x="196850" y="830754"/>
                  <a:pt x="197026" y="834962"/>
                  <a:pt x="197202" y="838994"/>
                </a:cubicBezTo>
                <a:cubicBezTo>
                  <a:pt x="203708" y="943129"/>
                  <a:pt x="290223" y="1025525"/>
                  <a:pt x="396257" y="1025525"/>
                </a:cubicBezTo>
                <a:cubicBezTo>
                  <a:pt x="502291" y="1025525"/>
                  <a:pt x="588807" y="943129"/>
                  <a:pt x="595313" y="838994"/>
                </a:cubicBezTo>
                <a:lnTo>
                  <a:pt x="595023" y="836067"/>
                </a:lnTo>
                <a:lnTo>
                  <a:pt x="595313" y="825959"/>
                </a:lnTo>
                <a:cubicBezTo>
                  <a:pt x="595313" y="821750"/>
                  <a:pt x="595137" y="817716"/>
                  <a:pt x="594961" y="813682"/>
                </a:cubicBezTo>
                <a:cubicBezTo>
                  <a:pt x="588455" y="709498"/>
                  <a:pt x="501940" y="627063"/>
                  <a:pt x="395906" y="627063"/>
                </a:cubicBezTo>
                <a:close/>
                <a:moveTo>
                  <a:pt x="0" y="0"/>
                </a:moveTo>
                <a:lnTo>
                  <a:pt x="4723899" y="0"/>
                </a:lnTo>
                <a:lnTo>
                  <a:pt x="6057037" y="0"/>
                </a:lnTo>
                <a:lnTo>
                  <a:pt x="5820308" y="1220872"/>
                </a:lnTo>
                <a:lnTo>
                  <a:pt x="3753506" y="6877049"/>
                </a:lnTo>
                <a:lnTo>
                  <a:pt x="0" y="6877049"/>
                </a:lnTo>
                <a:close/>
              </a:path>
            </a:pathLst>
          </a:custGeom>
          <a:gradFill>
            <a:gsLst>
              <a:gs pos="0">
                <a:srgbClr val="443247"/>
              </a:gs>
              <a:gs pos="54000">
                <a:srgbClr val="443247">
                  <a:alpha val="92000"/>
                </a:srgbClr>
              </a:gs>
              <a:gs pos="100000">
                <a:srgbClr val="443247">
                  <a:alpha val="70000"/>
                </a:srgbClr>
              </a:gs>
            </a:gsLst>
            <a:lin ang="0" scaled="1"/>
          </a:gra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2" y="853724"/>
            <a:ext cx="3567164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bg1"/>
                </a:solidFill>
              </a:defRPr>
            </a:lvl1pPr>
            <a:lvl2pPr marL="0" indent="0" algn="l">
              <a:buNone/>
              <a:defRPr sz="1350">
                <a:solidFill>
                  <a:schemeClr val="bg1"/>
                </a:solidFill>
              </a:defRPr>
            </a:lvl2pPr>
            <a:lvl3pPr marL="0" indent="0" algn="l">
              <a:buNone/>
              <a:defRPr sz="1350">
                <a:solidFill>
                  <a:schemeClr val="bg1"/>
                </a:solidFill>
              </a:defRPr>
            </a:lvl3pPr>
            <a:lvl4pPr marL="0" indent="0" algn="l">
              <a:buNone/>
              <a:defRPr sz="1350">
                <a:solidFill>
                  <a:schemeClr val="bg1"/>
                </a:solidFill>
              </a:defRPr>
            </a:lvl4pPr>
            <a:lvl5pPr marL="0" indent="0" algn="l">
              <a:buNone/>
              <a:defRPr sz="1350">
                <a:solidFill>
                  <a:schemeClr val="bg1"/>
                </a:solidFill>
              </a:defRPr>
            </a:lvl5pPr>
            <a:lvl6pPr marL="0" indent="0" algn="l">
              <a:buNone/>
              <a:defRPr sz="1350">
                <a:solidFill>
                  <a:schemeClr val="bg1"/>
                </a:solidFill>
              </a:defRPr>
            </a:lvl6pPr>
            <a:lvl7pPr marL="0" indent="0" algn="l">
              <a:buNone/>
              <a:defRPr sz="1350">
                <a:solidFill>
                  <a:schemeClr val="bg1"/>
                </a:solidFill>
              </a:defRPr>
            </a:lvl7pPr>
            <a:lvl8pPr marL="0" indent="0" algn="l">
              <a:buNone/>
              <a:defRPr sz="1350">
                <a:solidFill>
                  <a:schemeClr val="bg1"/>
                </a:solidFill>
              </a:defRPr>
            </a:lvl8pPr>
            <a:lvl9pPr marL="0" indent="0" algn="l">
              <a:buNone/>
              <a:defRPr sz="13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36462" y="136454"/>
            <a:ext cx="3567164" cy="64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 bwMode="gray">
          <a:xfrm>
            <a:off x="735307" y="1299563"/>
            <a:ext cx="3567164" cy="35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025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 marL="405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3pPr>
            <a:lvl4pPr marL="6075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4pPr>
            <a:lvl5pPr marL="810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5pPr>
            <a:lvl6pPr marL="810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6pPr>
            <a:lvl7pPr marL="810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7pPr>
            <a:lvl8pPr marL="810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8pPr>
            <a:lvl9pPr marL="810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7BB5F5F-E0F0-448C-B32A-153B83FC9BD7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 flipV="1">
            <a:off x="2826260" y="-15244"/>
            <a:ext cx="1880500" cy="51597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40">
            <a:extLst>
              <a:ext uri="{FF2B5EF4-FFF2-40B4-BE49-F238E27FC236}">
                <a16:creationId xmlns:a16="http://schemas.microsoft.com/office/drawing/2014/main" id="{52689F14-181B-49FF-8877-2B78A05E1F1B}"/>
              </a:ext>
            </a:extLst>
          </p:cNvPr>
          <p:cNvGrpSpPr/>
          <p:nvPr userDrawn="1"/>
        </p:nvGrpSpPr>
        <p:grpSpPr>
          <a:xfrm>
            <a:off x="147657" y="463153"/>
            <a:ext cx="298886" cy="298847"/>
            <a:chOff x="196850" y="617538"/>
            <a:chExt cx="398463" cy="398462"/>
          </a:xfrm>
        </p:grpSpPr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72251520-3887-4D0F-9773-BF8ABAEA45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50" y="617538"/>
              <a:ext cx="398463" cy="373062"/>
            </a:xfrm>
            <a:custGeom>
              <a:avLst/>
              <a:gdLst>
                <a:gd name="T0" fmla="*/ 2264 w 2266"/>
                <a:gd name="T1" fmla="*/ 1064 h 2127"/>
                <a:gd name="T2" fmla="*/ 1132 w 2266"/>
                <a:gd name="T3" fmla="*/ 0 h 2127"/>
                <a:gd name="T4" fmla="*/ 0 w 2266"/>
                <a:gd name="T5" fmla="*/ 1064 h 2127"/>
                <a:gd name="T6" fmla="*/ 7 w 2266"/>
                <a:gd name="T7" fmla="*/ 1134 h 2127"/>
                <a:gd name="T8" fmla="*/ 219 w 2266"/>
                <a:gd name="T9" fmla="*/ 1666 h 2127"/>
                <a:gd name="T10" fmla="*/ 1132 w 2266"/>
                <a:gd name="T11" fmla="*/ 2127 h 2127"/>
                <a:gd name="T12" fmla="*/ 141 w 2266"/>
                <a:gd name="T13" fmla="*/ 1204 h 2127"/>
                <a:gd name="T14" fmla="*/ 139 w 2266"/>
                <a:gd name="T15" fmla="*/ 1134 h 2127"/>
                <a:gd name="T16" fmla="*/ 141 w 2266"/>
                <a:gd name="T17" fmla="*/ 1064 h 2127"/>
                <a:gd name="T18" fmla="*/ 1132 w 2266"/>
                <a:gd name="T19" fmla="*/ 140 h 2127"/>
                <a:gd name="T20" fmla="*/ 2045 w 2266"/>
                <a:gd name="T21" fmla="*/ 602 h 2127"/>
                <a:gd name="T22" fmla="*/ 2257 w 2266"/>
                <a:gd name="T23" fmla="*/ 1134 h 2127"/>
                <a:gd name="T24" fmla="*/ 2264 w 2266"/>
                <a:gd name="T25" fmla="*/ 1204 h 2127"/>
                <a:gd name="T26" fmla="*/ 2266 w 2266"/>
                <a:gd name="T27" fmla="*/ 1134 h 2127"/>
                <a:gd name="T28" fmla="*/ 2264 w 2266"/>
                <a:gd name="T29" fmla="*/ 1064 h 2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66" h="2127">
                  <a:moveTo>
                    <a:pt x="2264" y="1064"/>
                  </a:moveTo>
                  <a:cubicBezTo>
                    <a:pt x="2227" y="470"/>
                    <a:pt x="1735" y="0"/>
                    <a:pt x="1132" y="0"/>
                  </a:cubicBezTo>
                  <a:cubicBezTo>
                    <a:pt x="529" y="0"/>
                    <a:pt x="37" y="470"/>
                    <a:pt x="0" y="1064"/>
                  </a:cubicBezTo>
                  <a:cubicBezTo>
                    <a:pt x="2" y="1087"/>
                    <a:pt x="4" y="1111"/>
                    <a:pt x="7" y="1134"/>
                  </a:cubicBezTo>
                  <a:cubicBezTo>
                    <a:pt x="31" y="1332"/>
                    <a:pt x="107" y="1513"/>
                    <a:pt x="219" y="1666"/>
                  </a:cubicBezTo>
                  <a:cubicBezTo>
                    <a:pt x="426" y="1946"/>
                    <a:pt x="757" y="2127"/>
                    <a:pt x="1132" y="2127"/>
                  </a:cubicBezTo>
                  <a:cubicBezTo>
                    <a:pt x="608" y="2127"/>
                    <a:pt x="177" y="1719"/>
                    <a:pt x="141" y="1204"/>
                  </a:cubicBezTo>
                  <a:cubicBezTo>
                    <a:pt x="139" y="1181"/>
                    <a:pt x="139" y="1157"/>
                    <a:pt x="139" y="1134"/>
                  </a:cubicBezTo>
                  <a:cubicBezTo>
                    <a:pt x="139" y="1110"/>
                    <a:pt x="139" y="1087"/>
                    <a:pt x="141" y="1064"/>
                  </a:cubicBezTo>
                  <a:cubicBezTo>
                    <a:pt x="177" y="548"/>
                    <a:pt x="608" y="140"/>
                    <a:pt x="1132" y="140"/>
                  </a:cubicBezTo>
                  <a:cubicBezTo>
                    <a:pt x="1506" y="140"/>
                    <a:pt x="1838" y="322"/>
                    <a:pt x="2045" y="602"/>
                  </a:cubicBezTo>
                  <a:cubicBezTo>
                    <a:pt x="2157" y="755"/>
                    <a:pt x="2233" y="937"/>
                    <a:pt x="2257" y="1134"/>
                  </a:cubicBezTo>
                  <a:cubicBezTo>
                    <a:pt x="2260" y="1157"/>
                    <a:pt x="2262" y="1181"/>
                    <a:pt x="2264" y="1204"/>
                  </a:cubicBezTo>
                  <a:cubicBezTo>
                    <a:pt x="2265" y="1181"/>
                    <a:pt x="2266" y="1157"/>
                    <a:pt x="2266" y="1134"/>
                  </a:cubicBezTo>
                  <a:cubicBezTo>
                    <a:pt x="2266" y="1110"/>
                    <a:pt x="2265" y="1087"/>
                    <a:pt x="2264" y="1064"/>
                  </a:cubicBezTo>
                </a:path>
              </a:pathLst>
            </a:custGeom>
            <a:solidFill>
              <a:srgbClr val="89D3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/>
            </a:p>
          </p:txBody>
        </p:sp>
        <p:sp>
          <p:nvSpPr>
            <p:cNvPr id="43" name="Freeform 15">
              <a:extLst>
                <a:ext uri="{FF2B5EF4-FFF2-40B4-BE49-F238E27FC236}">
                  <a16:creationId xmlns:a16="http://schemas.microsoft.com/office/drawing/2014/main" id="{BD4EF4E4-09A0-4828-AC2A-7FEF9F2E59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50" y="642938"/>
              <a:ext cx="398463" cy="373062"/>
            </a:xfrm>
            <a:custGeom>
              <a:avLst/>
              <a:gdLst>
                <a:gd name="T0" fmla="*/ 2 w 2266"/>
                <a:gd name="T1" fmla="*/ 1064 h 2128"/>
                <a:gd name="T2" fmla="*/ 1134 w 2266"/>
                <a:gd name="T3" fmla="*/ 2128 h 2128"/>
                <a:gd name="T4" fmla="*/ 2266 w 2266"/>
                <a:gd name="T5" fmla="*/ 1064 h 2128"/>
                <a:gd name="T6" fmla="*/ 2259 w 2266"/>
                <a:gd name="T7" fmla="*/ 993 h 2128"/>
                <a:gd name="T8" fmla="*/ 2047 w 2266"/>
                <a:gd name="T9" fmla="*/ 462 h 2128"/>
                <a:gd name="T10" fmla="*/ 1134 w 2266"/>
                <a:gd name="T11" fmla="*/ 0 h 2128"/>
                <a:gd name="T12" fmla="*/ 2125 w 2266"/>
                <a:gd name="T13" fmla="*/ 924 h 2128"/>
                <a:gd name="T14" fmla="*/ 2127 w 2266"/>
                <a:gd name="T15" fmla="*/ 994 h 2128"/>
                <a:gd name="T16" fmla="*/ 2125 w 2266"/>
                <a:gd name="T17" fmla="*/ 1064 h 2128"/>
                <a:gd name="T18" fmla="*/ 1134 w 2266"/>
                <a:gd name="T19" fmla="*/ 1987 h 2128"/>
                <a:gd name="T20" fmla="*/ 221 w 2266"/>
                <a:gd name="T21" fmla="*/ 1526 h 2128"/>
                <a:gd name="T22" fmla="*/ 9 w 2266"/>
                <a:gd name="T23" fmla="*/ 993 h 2128"/>
                <a:gd name="T24" fmla="*/ 2 w 2266"/>
                <a:gd name="T25" fmla="*/ 924 h 2128"/>
                <a:gd name="T26" fmla="*/ 0 w 2266"/>
                <a:gd name="T27" fmla="*/ 994 h 2128"/>
                <a:gd name="T28" fmla="*/ 2 w 2266"/>
                <a:gd name="T29" fmla="*/ 1064 h 2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66" h="2128">
                  <a:moveTo>
                    <a:pt x="2" y="1064"/>
                  </a:moveTo>
                  <a:cubicBezTo>
                    <a:pt x="39" y="1658"/>
                    <a:pt x="531" y="2128"/>
                    <a:pt x="1134" y="2128"/>
                  </a:cubicBezTo>
                  <a:cubicBezTo>
                    <a:pt x="1737" y="2128"/>
                    <a:pt x="2229" y="1658"/>
                    <a:pt x="2266" y="1064"/>
                  </a:cubicBezTo>
                  <a:cubicBezTo>
                    <a:pt x="2264" y="1040"/>
                    <a:pt x="2262" y="1017"/>
                    <a:pt x="2259" y="993"/>
                  </a:cubicBezTo>
                  <a:cubicBezTo>
                    <a:pt x="2235" y="796"/>
                    <a:pt x="2159" y="614"/>
                    <a:pt x="2047" y="462"/>
                  </a:cubicBezTo>
                  <a:cubicBezTo>
                    <a:pt x="1840" y="182"/>
                    <a:pt x="1508" y="0"/>
                    <a:pt x="1134" y="0"/>
                  </a:cubicBezTo>
                  <a:cubicBezTo>
                    <a:pt x="1658" y="0"/>
                    <a:pt x="2089" y="408"/>
                    <a:pt x="2125" y="924"/>
                  </a:cubicBezTo>
                  <a:cubicBezTo>
                    <a:pt x="2126" y="947"/>
                    <a:pt x="2127" y="970"/>
                    <a:pt x="2127" y="994"/>
                  </a:cubicBezTo>
                  <a:cubicBezTo>
                    <a:pt x="2127" y="1017"/>
                    <a:pt x="2126" y="1041"/>
                    <a:pt x="2125" y="1064"/>
                  </a:cubicBezTo>
                  <a:cubicBezTo>
                    <a:pt x="2089" y="1579"/>
                    <a:pt x="1658" y="1987"/>
                    <a:pt x="1134" y="1987"/>
                  </a:cubicBezTo>
                  <a:cubicBezTo>
                    <a:pt x="759" y="1987"/>
                    <a:pt x="427" y="1806"/>
                    <a:pt x="221" y="1526"/>
                  </a:cubicBezTo>
                  <a:cubicBezTo>
                    <a:pt x="108" y="1373"/>
                    <a:pt x="33" y="1191"/>
                    <a:pt x="9" y="993"/>
                  </a:cubicBezTo>
                  <a:cubicBezTo>
                    <a:pt x="6" y="970"/>
                    <a:pt x="4" y="947"/>
                    <a:pt x="2" y="924"/>
                  </a:cubicBezTo>
                  <a:cubicBezTo>
                    <a:pt x="1" y="947"/>
                    <a:pt x="0" y="970"/>
                    <a:pt x="0" y="994"/>
                  </a:cubicBezTo>
                  <a:cubicBezTo>
                    <a:pt x="0" y="1017"/>
                    <a:pt x="1" y="1041"/>
                    <a:pt x="2" y="1064"/>
                  </a:cubicBezTo>
                </a:path>
              </a:pathLst>
            </a:custGeom>
            <a:solidFill>
              <a:srgbClr val="00B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14E7D0E6-6BCC-4643-9135-0D949349BA0B}"/>
                </a:ext>
              </a:extLst>
            </p:cNvPr>
            <p:cNvSpPr/>
            <p:nvPr userDrawn="1"/>
          </p:nvSpPr>
          <p:spPr>
            <a:xfrm>
              <a:off x="364331" y="648494"/>
              <a:ext cx="66675" cy="66675"/>
            </a:xfrm>
            <a:custGeom>
              <a:avLst/>
              <a:gdLst>
                <a:gd name="connsiteX0" fmla="*/ 20479 w 66675"/>
                <a:gd name="connsiteY0" fmla="*/ 29051 h 66675"/>
                <a:gd name="connsiteX1" fmla="*/ 44291 w 66675"/>
                <a:gd name="connsiteY1" fmla="*/ 29051 h 66675"/>
                <a:gd name="connsiteX2" fmla="*/ 49054 w 66675"/>
                <a:gd name="connsiteY2" fmla="*/ 24289 h 66675"/>
                <a:gd name="connsiteX3" fmla="*/ 44291 w 66675"/>
                <a:gd name="connsiteY3" fmla="*/ 19526 h 66675"/>
                <a:gd name="connsiteX4" fmla="*/ 20479 w 66675"/>
                <a:gd name="connsiteY4" fmla="*/ 19526 h 66675"/>
                <a:gd name="connsiteX5" fmla="*/ 20479 w 66675"/>
                <a:gd name="connsiteY5" fmla="*/ 29051 h 66675"/>
                <a:gd name="connsiteX6" fmla="*/ 20479 w 66675"/>
                <a:gd name="connsiteY6" fmla="*/ 29051 h 66675"/>
                <a:gd name="connsiteX7" fmla="*/ 20479 w 66675"/>
                <a:gd name="connsiteY7" fmla="*/ 29051 h 66675"/>
                <a:gd name="connsiteX8" fmla="*/ 20479 w 66675"/>
                <a:gd name="connsiteY8" fmla="*/ 51911 h 66675"/>
                <a:gd name="connsiteX9" fmla="*/ 45244 w 66675"/>
                <a:gd name="connsiteY9" fmla="*/ 51911 h 66675"/>
                <a:gd name="connsiteX10" fmla="*/ 50959 w 66675"/>
                <a:gd name="connsiteY10" fmla="*/ 46196 h 66675"/>
                <a:gd name="connsiteX11" fmla="*/ 45244 w 66675"/>
                <a:gd name="connsiteY11" fmla="*/ 40481 h 66675"/>
                <a:gd name="connsiteX12" fmla="*/ 20479 w 66675"/>
                <a:gd name="connsiteY12" fmla="*/ 40481 h 66675"/>
                <a:gd name="connsiteX13" fmla="*/ 20479 w 66675"/>
                <a:gd name="connsiteY13" fmla="*/ 51911 h 66675"/>
                <a:gd name="connsiteX14" fmla="*/ 20479 w 66675"/>
                <a:gd name="connsiteY14" fmla="*/ 51911 h 66675"/>
                <a:gd name="connsiteX15" fmla="*/ 20479 w 66675"/>
                <a:gd name="connsiteY15" fmla="*/ 51911 h 66675"/>
                <a:gd name="connsiteX16" fmla="*/ 59531 w 66675"/>
                <a:gd name="connsiteY16" fmla="*/ 34766 h 66675"/>
                <a:gd name="connsiteX17" fmla="*/ 64294 w 66675"/>
                <a:gd name="connsiteY17" fmla="*/ 47149 h 66675"/>
                <a:gd name="connsiteX18" fmla="*/ 47149 w 66675"/>
                <a:gd name="connsiteY18" fmla="*/ 64294 h 66675"/>
                <a:gd name="connsiteX19" fmla="*/ 7144 w 66675"/>
                <a:gd name="connsiteY19" fmla="*/ 64294 h 66675"/>
                <a:gd name="connsiteX20" fmla="*/ 7144 w 66675"/>
                <a:gd name="connsiteY20" fmla="*/ 7144 h 66675"/>
                <a:gd name="connsiteX21" fmla="*/ 46196 w 66675"/>
                <a:gd name="connsiteY21" fmla="*/ 7144 h 66675"/>
                <a:gd name="connsiteX22" fmla="*/ 62389 w 66675"/>
                <a:gd name="connsiteY22" fmla="*/ 24289 h 66675"/>
                <a:gd name="connsiteX23" fmla="*/ 59531 w 66675"/>
                <a:gd name="connsiteY23" fmla="*/ 34766 h 66675"/>
                <a:gd name="connsiteX24" fmla="*/ 59531 w 66675"/>
                <a:gd name="connsiteY24" fmla="*/ 3476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6675" h="66675">
                  <a:moveTo>
                    <a:pt x="20479" y="29051"/>
                  </a:moveTo>
                  <a:cubicBezTo>
                    <a:pt x="44291" y="29051"/>
                    <a:pt x="44291" y="29051"/>
                    <a:pt x="44291" y="29051"/>
                  </a:cubicBezTo>
                  <a:cubicBezTo>
                    <a:pt x="47149" y="29051"/>
                    <a:pt x="49054" y="27146"/>
                    <a:pt x="49054" y="24289"/>
                  </a:cubicBezTo>
                  <a:cubicBezTo>
                    <a:pt x="49054" y="21431"/>
                    <a:pt x="47149" y="19526"/>
                    <a:pt x="44291" y="19526"/>
                  </a:cubicBezTo>
                  <a:cubicBezTo>
                    <a:pt x="20479" y="19526"/>
                    <a:pt x="20479" y="19526"/>
                    <a:pt x="20479" y="19526"/>
                  </a:cubicBezTo>
                  <a:lnTo>
                    <a:pt x="20479" y="29051"/>
                  </a:lnTo>
                  <a:lnTo>
                    <a:pt x="20479" y="29051"/>
                  </a:lnTo>
                  <a:lnTo>
                    <a:pt x="20479" y="29051"/>
                  </a:lnTo>
                  <a:close/>
                  <a:moveTo>
                    <a:pt x="20479" y="51911"/>
                  </a:moveTo>
                  <a:cubicBezTo>
                    <a:pt x="45244" y="51911"/>
                    <a:pt x="45244" y="51911"/>
                    <a:pt x="45244" y="51911"/>
                  </a:cubicBezTo>
                  <a:cubicBezTo>
                    <a:pt x="48101" y="51911"/>
                    <a:pt x="50959" y="49054"/>
                    <a:pt x="50959" y="46196"/>
                  </a:cubicBezTo>
                  <a:cubicBezTo>
                    <a:pt x="50959" y="43339"/>
                    <a:pt x="49054" y="40481"/>
                    <a:pt x="45244" y="40481"/>
                  </a:cubicBezTo>
                  <a:cubicBezTo>
                    <a:pt x="20479" y="40481"/>
                    <a:pt x="20479" y="40481"/>
                    <a:pt x="20479" y="40481"/>
                  </a:cubicBezTo>
                  <a:lnTo>
                    <a:pt x="20479" y="51911"/>
                  </a:lnTo>
                  <a:lnTo>
                    <a:pt x="20479" y="51911"/>
                  </a:lnTo>
                  <a:lnTo>
                    <a:pt x="20479" y="51911"/>
                  </a:lnTo>
                  <a:close/>
                  <a:moveTo>
                    <a:pt x="59531" y="34766"/>
                  </a:moveTo>
                  <a:cubicBezTo>
                    <a:pt x="62389" y="37624"/>
                    <a:pt x="64294" y="42386"/>
                    <a:pt x="64294" y="47149"/>
                  </a:cubicBezTo>
                  <a:cubicBezTo>
                    <a:pt x="64294" y="56674"/>
                    <a:pt x="56674" y="64294"/>
                    <a:pt x="47149" y="64294"/>
                  </a:cubicBezTo>
                  <a:cubicBezTo>
                    <a:pt x="7144" y="64294"/>
                    <a:pt x="7144" y="64294"/>
                    <a:pt x="7144" y="64294"/>
                  </a:cubicBezTo>
                  <a:cubicBezTo>
                    <a:pt x="7144" y="7144"/>
                    <a:pt x="7144" y="7144"/>
                    <a:pt x="7144" y="7144"/>
                  </a:cubicBezTo>
                  <a:cubicBezTo>
                    <a:pt x="46196" y="7144"/>
                    <a:pt x="46196" y="7144"/>
                    <a:pt x="46196" y="7144"/>
                  </a:cubicBezTo>
                  <a:cubicBezTo>
                    <a:pt x="55721" y="7144"/>
                    <a:pt x="62389" y="14764"/>
                    <a:pt x="62389" y="24289"/>
                  </a:cubicBezTo>
                  <a:cubicBezTo>
                    <a:pt x="63341" y="28099"/>
                    <a:pt x="61436" y="31909"/>
                    <a:pt x="59531" y="34766"/>
                  </a:cubicBezTo>
                  <a:lnTo>
                    <a:pt x="59531" y="3476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F29973EA-FA6A-4AD0-9DE8-F1AC7D4B7BBC}"/>
                </a:ext>
              </a:extLst>
            </p:cNvPr>
            <p:cNvSpPr/>
            <p:nvPr userDrawn="1"/>
          </p:nvSpPr>
          <p:spPr>
            <a:xfrm>
              <a:off x="354806" y="781844"/>
              <a:ext cx="76200" cy="66675"/>
            </a:xfrm>
            <a:custGeom>
              <a:avLst/>
              <a:gdLst>
                <a:gd name="connsiteX0" fmla="*/ 58579 w 76200"/>
                <a:gd name="connsiteY0" fmla="*/ 7144 h 66675"/>
                <a:gd name="connsiteX1" fmla="*/ 73819 w 76200"/>
                <a:gd name="connsiteY1" fmla="*/ 7144 h 66675"/>
                <a:gd name="connsiteX2" fmla="*/ 47149 w 76200"/>
                <a:gd name="connsiteY2" fmla="*/ 44291 h 66675"/>
                <a:gd name="connsiteX3" fmla="*/ 47149 w 76200"/>
                <a:gd name="connsiteY3" fmla="*/ 64294 h 66675"/>
                <a:gd name="connsiteX4" fmla="*/ 33814 w 76200"/>
                <a:gd name="connsiteY4" fmla="*/ 64294 h 66675"/>
                <a:gd name="connsiteX5" fmla="*/ 33814 w 76200"/>
                <a:gd name="connsiteY5" fmla="*/ 44291 h 66675"/>
                <a:gd name="connsiteX6" fmla="*/ 7144 w 76200"/>
                <a:gd name="connsiteY6" fmla="*/ 7144 h 66675"/>
                <a:gd name="connsiteX7" fmla="*/ 22384 w 76200"/>
                <a:gd name="connsiteY7" fmla="*/ 7144 h 66675"/>
                <a:gd name="connsiteX8" fmla="*/ 41434 w 76200"/>
                <a:gd name="connsiteY8" fmla="*/ 31909 h 66675"/>
                <a:gd name="connsiteX9" fmla="*/ 58579 w 76200"/>
                <a:gd name="connsiteY9" fmla="*/ 7144 h 66675"/>
                <a:gd name="connsiteX10" fmla="*/ 58579 w 76200"/>
                <a:gd name="connsiteY10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6200" h="66675">
                  <a:moveTo>
                    <a:pt x="58579" y="7144"/>
                  </a:moveTo>
                  <a:lnTo>
                    <a:pt x="73819" y="7144"/>
                  </a:lnTo>
                  <a:lnTo>
                    <a:pt x="47149" y="44291"/>
                  </a:lnTo>
                  <a:lnTo>
                    <a:pt x="47149" y="64294"/>
                  </a:lnTo>
                  <a:lnTo>
                    <a:pt x="33814" y="64294"/>
                  </a:lnTo>
                  <a:lnTo>
                    <a:pt x="33814" y="44291"/>
                  </a:lnTo>
                  <a:lnTo>
                    <a:pt x="7144" y="7144"/>
                  </a:lnTo>
                  <a:lnTo>
                    <a:pt x="22384" y="7144"/>
                  </a:lnTo>
                  <a:lnTo>
                    <a:pt x="41434" y="31909"/>
                  </a:lnTo>
                  <a:lnTo>
                    <a:pt x="58579" y="7144"/>
                  </a:lnTo>
                  <a:lnTo>
                    <a:pt x="58579" y="71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FD5637C9-F850-49DF-962F-40BDCC2436C2}"/>
                </a:ext>
              </a:extLst>
            </p:cNvPr>
            <p:cNvSpPr/>
            <p:nvPr userDrawn="1"/>
          </p:nvSpPr>
          <p:spPr>
            <a:xfrm>
              <a:off x="431006" y="781844"/>
              <a:ext cx="57150" cy="66675"/>
            </a:xfrm>
            <a:custGeom>
              <a:avLst/>
              <a:gdLst>
                <a:gd name="connsiteX0" fmla="*/ 54769 w 57150"/>
                <a:gd name="connsiteY0" fmla="*/ 7144 h 66675"/>
                <a:gd name="connsiteX1" fmla="*/ 54769 w 57150"/>
                <a:gd name="connsiteY1" fmla="*/ 18574 h 66675"/>
                <a:gd name="connsiteX2" fmla="*/ 19526 w 57150"/>
                <a:gd name="connsiteY2" fmla="*/ 18574 h 66675"/>
                <a:gd name="connsiteX3" fmla="*/ 19526 w 57150"/>
                <a:gd name="connsiteY3" fmla="*/ 29051 h 66675"/>
                <a:gd name="connsiteX4" fmla="*/ 54769 w 57150"/>
                <a:gd name="connsiteY4" fmla="*/ 29051 h 66675"/>
                <a:gd name="connsiteX5" fmla="*/ 54769 w 57150"/>
                <a:gd name="connsiteY5" fmla="*/ 40481 h 66675"/>
                <a:gd name="connsiteX6" fmla="*/ 19526 w 57150"/>
                <a:gd name="connsiteY6" fmla="*/ 40481 h 66675"/>
                <a:gd name="connsiteX7" fmla="*/ 19526 w 57150"/>
                <a:gd name="connsiteY7" fmla="*/ 52864 h 66675"/>
                <a:gd name="connsiteX8" fmla="*/ 54769 w 57150"/>
                <a:gd name="connsiteY8" fmla="*/ 52864 h 66675"/>
                <a:gd name="connsiteX9" fmla="*/ 54769 w 57150"/>
                <a:gd name="connsiteY9" fmla="*/ 64294 h 66675"/>
                <a:gd name="connsiteX10" fmla="*/ 7144 w 57150"/>
                <a:gd name="connsiteY10" fmla="*/ 64294 h 66675"/>
                <a:gd name="connsiteX11" fmla="*/ 7144 w 57150"/>
                <a:gd name="connsiteY11" fmla="*/ 7144 h 66675"/>
                <a:gd name="connsiteX12" fmla="*/ 54769 w 57150"/>
                <a:gd name="connsiteY12" fmla="*/ 7144 h 66675"/>
                <a:gd name="connsiteX13" fmla="*/ 54769 w 57150"/>
                <a:gd name="connsiteY13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66675">
                  <a:moveTo>
                    <a:pt x="54769" y="7144"/>
                  </a:moveTo>
                  <a:lnTo>
                    <a:pt x="54769" y="18574"/>
                  </a:lnTo>
                  <a:lnTo>
                    <a:pt x="19526" y="18574"/>
                  </a:lnTo>
                  <a:lnTo>
                    <a:pt x="19526" y="29051"/>
                  </a:lnTo>
                  <a:lnTo>
                    <a:pt x="54769" y="29051"/>
                  </a:lnTo>
                  <a:lnTo>
                    <a:pt x="54769" y="40481"/>
                  </a:lnTo>
                  <a:lnTo>
                    <a:pt x="19526" y="40481"/>
                  </a:lnTo>
                  <a:lnTo>
                    <a:pt x="19526" y="52864"/>
                  </a:lnTo>
                  <a:lnTo>
                    <a:pt x="54769" y="52864"/>
                  </a:lnTo>
                  <a:lnTo>
                    <a:pt x="54769" y="64294"/>
                  </a:lnTo>
                  <a:lnTo>
                    <a:pt x="7144" y="64294"/>
                  </a:lnTo>
                  <a:lnTo>
                    <a:pt x="7144" y="7144"/>
                  </a:lnTo>
                  <a:lnTo>
                    <a:pt x="54769" y="7144"/>
                  </a:lnTo>
                  <a:lnTo>
                    <a:pt x="54769" y="71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16BBA728-04D7-4F07-B2F4-22038115C3D0}"/>
                </a:ext>
              </a:extLst>
            </p:cNvPr>
            <p:cNvSpPr/>
            <p:nvPr userDrawn="1"/>
          </p:nvSpPr>
          <p:spPr>
            <a:xfrm>
              <a:off x="497681" y="781844"/>
              <a:ext cx="66675" cy="66675"/>
            </a:xfrm>
            <a:custGeom>
              <a:avLst/>
              <a:gdLst>
                <a:gd name="connsiteX0" fmla="*/ 30956 w 66675"/>
                <a:gd name="connsiteY0" fmla="*/ 42386 h 66675"/>
                <a:gd name="connsiteX1" fmla="*/ 20479 w 66675"/>
                <a:gd name="connsiteY1" fmla="*/ 42386 h 66675"/>
                <a:gd name="connsiteX2" fmla="*/ 20479 w 66675"/>
                <a:gd name="connsiteY2" fmla="*/ 64294 h 66675"/>
                <a:gd name="connsiteX3" fmla="*/ 7144 w 66675"/>
                <a:gd name="connsiteY3" fmla="*/ 64294 h 66675"/>
                <a:gd name="connsiteX4" fmla="*/ 7144 w 66675"/>
                <a:gd name="connsiteY4" fmla="*/ 7144 h 66675"/>
                <a:gd name="connsiteX5" fmla="*/ 42386 w 66675"/>
                <a:gd name="connsiteY5" fmla="*/ 7144 h 66675"/>
                <a:gd name="connsiteX6" fmla="*/ 60484 w 66675"/>
                <a:gd name="connsiteY6" fmla="*/ 25241 h 66675"/>
                <a:gd name="connsiteX7" fmla="*/ 47149 w 66675"/>
                <a:gd name="connsiteY7" fmla="*/ 42386 h 66675"/>
                <a:gd name="connsiteX8" fmla="*/ 64294 w 66675"/>
                <a:gd name="connsiteY8" fmla="*/ 64294 h 66675"/>
                <a:gd name="connsiteX9" fmla="*/ 48101 w 66675"/>
                <a:gd name="connsiteY9" fmla="*/ 64294 h 66675"/>
                <a:gd name="connsiteX10" fmla="*/ 30956 w 66675"/>
                <a:gd name="connsiteY10" fmla="*/ 42386 h 66675"/>
                <a:gd name="connsiteX11" fmla="*/ 30956 w 66675"/>
                <a:gd name="connsiteY11" fmla="*/ 42386 h 66675"/>
                <a:gd name="connsiteX12" fmla="*/ 30956 w 66675"/>
                <a:gd name="connsiteY12" fmla="*/ 42386 h 66675"/>
                <a:gd name="connsiteX13" fmla="*/ 40481 w 66675"/>
                <a:gd name="connsiteY13" fmla="*/ 19526 h 66675"/>
                <a:gd name="connsiteX14" fmla="*/ 20479 w 66675"/>
                <a:gd name="connsiteY14" fmla="*/ 19526 h 66675"/>
                <a:gd name="connsiteX15" fmla="*/ 20479 w 66675"/>
                <a:gd name="connsiteY15" fmla="*/ 30004 h 66675"/>
                <a:gd name="connsiteX16" fmla="*/ 40481 w 66675"/>
                <a:gd name="connsiteY16" fmla="*/ 30004 h 66675"/>
                <a:gd name="connsiteX17" fmla="*/ 46196 w 66675"/>
                <a:gd name="connsiteY17" fmla="*/ 24289 h 66675"/>
                <a:gd name="connsiteX18" fmla="*/ 40481 w 66675"/>
                <a:gd name="connsiteY18" fmla="*/ 19526 h 66675"/>
                <a:gd name="connsiteX19" fmla="*/ 40481 w 66675"/>
                <a:gd name="connsiteY19" fmla="*/ 1952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6675" h="66675">
                  <a:moveTo>
                    <a:pt x="30956" y="42386"/>
                  </a:moveTo>
                  <a:cubicBezTo>
                    <a:pt x="20479" y="42386"/>
                    <a:pt x="20479" y="42386"/>
                    <a:pt x="20479" y="42386"/>
                  </a:cubicBezTo>
                  <a:cubicBezTo>
                    <a:pt x="20479" y="64294"/>
                    <a:pt x="20479" y="64294"/>
                    <a:pt x="20479" y="64294"/>
                  </a:cubicBezTo>
                  <a:cubicBezTo>
                    <a:pt x="7144" y="64294"/>
                    <a:pt x="7144" y="64294"/>
                    <a:pt x="7144" y="64294"/>
                  </a:cubicBezTo>
                  <a:cubicBezTo>
                    <a:pt x="7144" y="7144"/>
                    <a:pt x="7144" y="7144"/>
                    <a:pt x="7144" y="7144"/>
                  </a:cubicBezTo>
                  <a:cubicBezTo>
                    <a:pt x="42386" y="7144"/>
                    <a:pt x="42386" y="7144"/>
                    <a:pt x="42386" y="7144"/>
                  </a:cubicBezTo>
                  <a:cubicBezTo>
                    <a:pt x="51911" y="7144"/>
                    <a:pt x="60484" y="14764"/>
                    <a:pt x="60484" y="25241"/>
                  </a:cubicBezTo>
                  <a:cubicBezTo>
                    <a:pt x="60484" y="32861"/>
                    <a:pt x="54769" y="39529"/>
                    <a:pt x="47149" y="42386"/>
                  </a:cubicBezTo>
                  <a:cubicBezTo>
                    <a:pt x="64294" y="64294"/>
                    <a:pt x="64294" y="64294"/>
                    <a:pt x="64294" y="64294"/>
                  </a:cubicBezTo>
                  <a:cubicBezTo>
                    <a:pt x="48101" y="64294"/>
                    <a:pt x="48101" y="64294"/>
                    <a:pt x="48101" y="64294"/>
                  </a:cubicBezTo>
                  <a:lnTo>
                    <a:pt x="30956" y="42386"/>
                  </a:lnTo>
                  <a:lnTo>
                    <a:pt x="30956" y="42386"/>
                  </a:lnTo>
                  <a:lnTo>
                    <a:pt x="30956" y="42386"/>
                  </a:lnTo>
                  <a:close/>
                  <a:moveTo>
                    <a:pt x="40481" y="19526"/>
                  </a:moveTo>
                  <a:cubicBezTo>
                    <a:pt x="20479" y="19526"/>
                    <a:pt x="20479" y="19526"/>
                    <a:pt x="20479" y="19526"/>
                  </a:cubicBezTo>
                  <a:cubicBezTo>
                    <a:pt x="20479" y="30004"/>
                    <a:pt x="20479" y="30004"/>
                    <a:pt x="20479" y="30004"/>
                  </a:cubicBezTo>
                  <a:cubicBezTo>
                    <a:pt x="40481" y="30004"/>
                    <a:pt x="40481" y="30004"/>
                    <a:pt x="40481" y="30004"/>
                  </a:cubicBezTo>
                  <a:cubicBezTo>
                    <a:pt x="43339" y="30004"/>
                    <a:pt x="46196" y="27146"/>
                    <a:pt x="46196" y="24289"/>
                  </a:cubicBezTo>
                  <a:cubicBezTo>
                    <a:pt x="46196" y="21431"/>
                    <a:pt x="44291" y="19526"/>
                    <a:pt x="40481" y="19526"/>
                  </a:cubicBezTo>
                  <a:lnTo>
                    <a:pt x="40481" y="1952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68D481F1-6EAB-4F13-871F-1595845811ED}"/>
                </a:ext>
              </a:extLst>
            </p:cNvPr>
            <p:cNvSpPr/>
            <p:nvPr userDrawn="1"/>
          </p:nvSpPr>
          <p:spPr>
            <a:xfrm>
              <a:off x="292894" y="781844"/>
              <a:ext cx="76200" cy="66675"/>
            </a:xfrm>
            <a:custGeom>
              <a:avLst/>
              <a:gdLst>
                <a:gd name="connsiteX0" fmla="*/ 73819 w 76200"/>
                <a:gd name="connsiteY0" fmla="*/ 64294 h 66675"/>
                <a:gd name="connsiteX1" fmla="*/ 59531 w 76200"/>
                <a:gd name="connsiteY1" fmla="*/ 64294 h 66675"/>
                <a:gd name="connsiteX2" fmla="*/ 54769 w 76200"/>
                <a:gd name="connsiteY2" fmla="*/ 53816 h 66675"/>
                <a:gd name="connsiteX3" fmla="*/ 25241 w 76200"/>
                <a:gd name="connsiteY3" fmla="*/ 53816 h 66675"/>
                <a:gd name="connsiteX4" fmla="*/ 21431 w 76200"/>
                <a:gd name="connsiteY4" fmla="*/ 64294 h 66675"/>
                <a:gd name="connsiteX5" fmla="*/ 7144 w 76200"/>
                <a:gd name="connsiteY5" fmla="*/ 64294 h 66675"/>
                <a:gd name="connsiteX6" fmla="*/ 33814 w 76200"/>
                <a:gd name="connsiteY6" fmla="*/ 7144 h 66675"/>
                <a:gd name="connsiteX7" fmla="*/ 46196 w 76200"/>
                <a:gd name="connsiteY7" fmla="*/ 7144 h 66675"/>
                <a:gd name="connsiteX8" fmla="*/ 73819 w 76200"/>
                <a:gd name="connsiteY8" fmla="*/ 64294 h 66675"/>
                <a:gd name="connsiteX9" fmla="*/ 73819 w 76200"/>
                <a:gd name="connsiteY9" fmla="*/ 64294 h 66675"/>
                <a:gd name="connsiteX10" fmla="*/ 73819 w 76200"/>
                <a:gd name="connsiteY10" fmla="*/ 64294 h 66675"/>
                <a:gd name="connsiteX11" fmla="*/ 39529 w 76200"/>
                <a:gd name="connsiteY11" fmla="*/ 20479 h 66675"/>
                <a:gd name="connsiteX12" fmla="*/ 30004 w 76200"/>
                <a:gd name="connsiteY12" fmla="*/ 42386 h 66675"/>
                <a:gd name="connsiteX13" fmla="*/ 49054 w 76200"/>
                <a:gd name="connsiteY13" fmla="*/ 42386 h 66675"/>
                <a:gd name="connsiteX14" fmla="*/ 39529 w 76200"/>
                <a:gd name="connsiteY14" fmla="*/ 20479 h 66675"/>
                <a:gd name="connsiteX15" fmla="*/ 39529 w 76200"/>
                <a:gd name="connsiteY15" fmla="*/ 20479 h 66675"/>
                <a:gd name="connsiteX16" fmla="*/ 39529 w 76200"/>
                <a:gd name="connsiteY16" fmla="*/ 20479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200" h="66675">
                  <a:moveTo>
                    <a:pt x="73819" y="64294"/>
                  </a:moveTo>
                  <a:lnTo>
                    <a:pt x="59531" y="64294"/>
                  </a:lnTo>
                  <a:lnTo>
                    <a:pt x="54769" y="53816"/>
                  </a:lnTo>
                  <a:lnTo>
                    <a:pt x="25241" y="53816"/>
                  </a:lnTo>
                  <a:lnTo>
                    <a:pt x="21431" y="64294"/>
                  </a:lnTo>
                  <a:lnTo>
                    <a:pt x="7144" y="64294"/>
                  </a:lnTo>
                  <a:lnTo>
                    <a:pt x="33814" y="7144"/>
                  </a:lnTo>
                  <a:lnTo>
                    <a:pt x="46196" y="7144"/>
                  </a:lnTo>
                  <a:lnTo>
                    <a:pt x="73819" y="64294"/>
                  </a:lnTo>
                  <a:lnTo>
                    <a:pt x="73819" y="64294"/>
                  </a:lnTo>
                  <a:lnTo>
                    <a:pt x="73819" y="64294"/>
                  </a:lnTo>
                  <a:close/>
                  <a:moveTo>
                    <a:pt x="39529" y="20479"/>
                  </a:moveTo>
                  <a:lnTo>
                    <a:pt x="30004" y="42386"/>
                  </a:lnTo>
                  <a:lnTo>
                    <a:pt x="49054" y="42386"/>
                  </a:lnTo>
                  <a:lnTo>
                    <a:pt x="39529" y="20479"/>
                  </a:lnTo>
                  <a:lnTo>
                    <a:pt x="39529" y="20479"/>
                  </a:lnTo>
                  <a:lnTo>
                    <a:pt x="39529" y="204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7B21F685-93F2-482D-AB05-2DCF3FEC18DA}"/>
                </a:ext>
              </a:extLst>
            </p:cNvPr>
            <p:cNvSpPr/>
            <p:nvPr userDrawn="1"/>
          </p:nvSpPr>
          <p:spPr>
            <a:xfrm>
              <a:off x="354806" y="715169"/>
              <a:ext cx="76200" cy="66675"/>
            </a:xfrm>
            <a:custGeom>
              <a:avLst/>
              <a:gdLst>
                <a:gd name="connsiteX0" fmla="*/ 73819 w 76200"/>
                <a:gd name="connsiteY0" fmla="*/ 64294 h 66675"/>
                <a:gd name="connsiteX1" fmla="*/ 59531 w 76200"/>
                <a:gd name="connsiteY1" fmla="*/ 64294 h 66675"/>
                <a:gd name="connsiteX2" fmla="*/ 54769 w 76200"/>
                <a:gd name="connsiteY2" fmla="*/ 53816 h 66675"/>
                <a:gd name="connsiteX3" fmla="*/ 25241 w 76200"/>
                <a:gd name="connsiteY3" fmla="*/ 53816 h 66675"/>
                <a:gd name="connsiteX4" fmla="*/ 21431 w 76200"/>
                <a:gd name="connsiteY4" fmla="*/ 64294 h 66675"/>
                <a:gd name="connsiteX5" fmla="*/ 7144 w 76200"/>
                <a:gd name="connsiteY5" fmla="*/ 64294 h 66675"/>
                <a:gd name="connsiteX6" fmla="*/ 33814 w 76200"/>
                <a:gd name="connsiteY6" fmla="*/ 7144 h 66675"/>
                <a:gd name="connsiteX7" fmla="*/ 46196 w 76200"/>
                <a:gd name="connsiteY7" fmla="*/ 7144 h 66675"/>
                <a:gd name="connsiteX8" fmla="*/ 73819 w 76200"/>
                <a:gd name="connsiteY8" fmla="*/ 64294 h 66675"/>
                <a:gd name="connsiteX9" fmla="*/ 73819 w 76200"/>
                <a:gd name="connsiteY9" fmla="*/ 64294 h 66675"/>
                <a:gd name="connsiteX10" fmla="*/ 73819 w 76200"/>
                <a:gd name="connsiteY10" fmla="*/ 64294 h 66675"/>
                <a:gd name="connsiteX11" fmla="*/ 39529 w 76200"/>
                <a:gd name="connsiteY11" fmla="*/ 20479 h 66675"/>
                <a:gd name="connsiteX12" fmla="*/ 30004 w 76200"/>
                <a:gd name="connsiteY12" fmla="*/ 42386 h 66675"/>
                <a:gd name="connsiteX13" fmla="*/ 49054 w 76200"/>
                <a:gd name="connsiteY13" fmla="*/ 42386 h 66675"/>
                <a:gd name="connsiteX14" fmla="*/ 39529 w 76200"/>
                <a:gd name="connsiteY14" fmla="*/ 20479 h 66675"/>
                <a:gd name="connsiteX15" fmla="*/ 39529 w 76200"/>
                <a:gd name="connsiteY15" fmla="*/ 20479 h 66675"/>
                <a:gd name="connsiteX16" fmla="*/ 39529 w 76200"/>
                <a:gd name="connsiteY16" fmla="*/ 20479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200" h="66675">
                  <a:moveTo>
                    <a:pt x="73819" y="64294"/>
                  </a:moveTo>
                  <a:lnTo>
                    <a:pt x="59531" y="64294"/>
                  </a:lnTo>
                  <a:lnTo>
                    <a:pt x="54769" y="53816"/>
                  </a:lnTo>
                  <a:lnTo>
                    <a:pt x="25241" y="53816"/>
                  </a:lnTo>
                  <a:lnTo>
                    <a:pt x="21431" y="64294"/>
                  </a:lnTo>
                  <a:lnTo>
                    <a:pt x="7144" y="64294"/>
                  </a:lnTo>
                  <a:lnTo>
                    <a:pt x="33814" y="7144"/>
                  </a:lnTo>
                  <a:lnTo>
                    <a:pt x="46196" y="7144"/>
                  </a:lnTo>
                  <a:lnTo>
                    <a:pt x="73819" y="64294"/>
                  </a:lnTo>
                  <a:lnTo>
                    <a:pt x="73819" y="64294"/>
                  </a:lnTo>
                  <a:lnTo>
                    <a:pt x="73819" y="64294"/>
                  </a:lnTo>
                  <a:close/>
                  <a:moveTo>
                    <a:pt x="39529" y="20479"/>
                  </a:moveTo>
                  <a:lnTo>
                    <a:pt x="30004" y="42386"/>
                  </a:lnTo>
                  <a:lnTo>
                    <a:pt x="49054" y="42386"/>
                  </a:lnTo>
                  <a:lnTo>
                    <a:pt x="39529" y="20479"/>
                  </a:lnTo>
                  <a:lnTo>
                    <a:pt x="39529" y="20479"/>
                  </a:lnTo>
                  <a:lnTo>
                    <a:pt x="39529" y="204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5C4A3273-1045-4626-835F-2658256F20BF}"/>
                </a:ext>
              </a:extLst>
            </p:cNvPr>
            <p:cNvSpPr/>
            <p:nvPr userDrawn="1"/>
          </p:nvSpPr>
          <p:spPr>
            <a:xfrm>
              <a:off x="230981" y="781844"/>
              <a:ext cx="66675" cy="66675"/>
            </a:xfrm>
            <a:custGeom>
              <a:avLst/>
              <a:gdLst>
                <a:gd name="connsiteX0" fmla="*/ 20479 w 66675"/>
                <a:gd name="connsiteY0" fmla="*/ 29051 h 66675"/>
                <a:gd name="connsiteX1" fmla="*/ 44291 w 66675"/>
                <a:gd name="connsiteY1" fmla="*/ 29051 h 66675"/>
                <a:gd name="connsiteX2" fmla="*/ 49054 w 66675"/>
                <a:gd name="connsiteY2" fmla="*/ 24289 h 66675"/>
                <a:gd name="connsiteX3" fmla="*/ 44291 w 66675"/>
                <a:gd name="connsiteY3" fmla="*/ 19526 h 66675"/>
                <a:gd name="connsiteX4" fmla="*/ 20479 w 66675"/>
                <a:gd name="connsiteY4" fmla="*/ 19526 h 66675"/>
                <a:gd name="connsiteX5" fmla="*/ 20479 w 66675"/>
                <a:gd name="connsiteY5" fmla="*/ 29051 h 66675"/>
                <a:gd name="connsiteX6" fmla="*/ 20479 w 66675"/>
                <a:gd name="connsiteY6" fmla="*/ 29051 h 66675"/>
                <a:gd name="connsiteX7" fmla="*/ 20479 w 66675"/>
                <a:gd name="connsiteY7" fmla="*/ 29051 h 66675"/>
                <a:gd name="connsiteX8" fmla="*/ 20479 w 66675"/>
                <a:gd name="connsiteY8" fmla="*/ 51911 h 66675"/>
                <a:gd name="connsiteX9" fmla="*/ 45244 w 66675"/>
                <a:gd name="connsiteY9" fmla="*/ 51911 h 66675"/>
                <a:gd name="connsiteX10" fmla="*/ 50959 w 66675"/>
                <a:gd name="connsiteY10" fmla="*/ 46196 h 66675"/>
                <a:gd name="connsiteX11" fmla="*/ 45244 w 66675"/>
                <a:gd name="connsiteY11" fmla="*/ 40481 h 66675"/>
                <a:gd name="connsiteX12" fmla="*/ 20479 w 66675"/>
                <a:gd name="connsiteY12" fmla="*/ 40481 h 66675"/>
                <a:gd name="connsiteX13" fmla="*/ 20479 w 66675"/>
                <a:gd name="connsiteY13" fmla="*/ 51911 h 66675"/>
                <a:gd name="connsiteX14" fmla="*/ 20479 w 66675"/>
                <a:gd name="connsiteY14" fmla="*/ 51911 h 66675"/>
                <a:gd name="connsiteX15" fmla="*/ 20479 w 66675"/>
                <a:gd name="connsiteY15" fmla="*/ 51911 h 66675"/>
                <a:gd name="connsiteX16" fmla="*/ 58579 w 66675"/>
                <a:gd name="connsiteY16" fmla="*/ 34766 h 66675"/>
                <a:gd name="connsiteX17" fmla="*/ 64294 w 66675"/>
                <a:gd name="connsiteY17" fmla="*/ 47149 h 66675"/>
                <a:gd name="connsiteX18" fmla="*/ 47149 w 66675"/>
                <a:gd name="connsiteY18" fmla="*/ 64294 h 66675"/>
                <a:gd name="connsiteX19" fmla="*/ 7144 w 66675"/>
                <a:gd name="connsiteY19" fmla="*/ 64294 h 66675"/>
                <a:gd name="connsiteX20" fmla="*/ 7144 w 66675"/>
                <a:gd name="connsiteY20" fmla="*/ 7144 h 66675"/>
                <a:gd name="connsiteX21" fmla="*/ 46196 w 66675"/>
                <a:gd name="connsiteY21" fmla="*/ 7144 h 66675"/>
                <a:gd name="connsiteX22" fmla="*/ 62389 w 66675"/>
                <a:gd name="connsiteY22" fmla="*/ 24289 h 66675"/>
                <a:gd name="connsiteX23" fmla="*/ 58579 w 66675"/>
                <a:gd name="connsiteY23" fmla="*/ 34766 h 66675"/>
                <a:gd name="connsiteX24" fmla="*/ 58579 w 66675"/>
                <a:gd name="connsiteY24" fmla="*/ 3476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6675" h="66675">
                  <a:moveTo>
                    <a:pt x="20479" y="29051"/>
                  </a:moveTo>
                  <a:cubicBezTo>
                    <a:pt x="44291" y="29051"/>
                    <a:pt x="44291" y="29051"/>
                    <a:pt x="44291" y="29051"/>
                  </a:cubicBezTo>
                  <a:cubicBezTo>
                    <a:pt x="47149" y="29051"/>
                    <a:pt x="49054" y="27146"/>
                    <a:pt x="49054" y="24289"/>
                  </a:cubicBezTo>
                  <a:cubicBezTo>
                    <a:pt x="49054" y="21431"/>
                    <a:pt x="47149" y="19526"/>
                    <a:pt x="44291" y="19526"/>
                  </a:cubicBezTo>
                  <a:cubicBezTo>
                    <a:pt x="20479" y="19526"/>
                    <a:pt x="20479" y="19526"/>
                    <a:pt x="20479" y="19526"/>
                  </a:cubicBezTo>
                  <a:lnTo>
                    <a:pt x="20479" y="29051"/>
                  </a:lnTo>
                  <a:lnTo>
                    <a:pt x="20479" y="29051"/>
                  </a:lnTo>
                  <a:lnTo>
                    <a:pt x="20479" y="29051"/>
                  </a:lnTo>
                  <a:close/>
                  <a:moveTo>
                    <a:pt x="20479" y="51911"/>
                  </a:moveTo>
                  <a:cubicBezTo>
                    <a:pt x="45244" y="51911"/>
                    <a:pt x="45244" y="51911"/>
                    <a:pt x="45244" y="51911"/>
                  </a:cubicBezTo>
                  <a:cubicBezTo>
                    <a:pt x="48101" y="51911"/>
                    <a:pt x="50959" y="49054"/>
                    <a:pt x="50959" y="46196"/>
                  </a:cubicBezTo>
                  <a:cubicBezTo>
                    <a:pt x="50959" y="43339"/>
                    <a:pt x="48101" y="40481"/>
                    <a:pt x="45244" y="40481"/>
                  </a:cubicBezTo>
                  <a:cubicBezTo>
                    <a:pt x="20479" y="40481"/>
                    <a:pt x="20479" y="40481"/>
                    <a:pt x="20479" y="40481"/>
                  </a:cubicBezTo>
                  <a:lnTo>
                    <a:pt x="20479" y="51911"/>
                  </a:lnTo>
                  <a:lnTo>
                    <a:pt x="20479" y="51911"/>
                  </a:lnTo>
                  <a:lnTo>
                    <a:pt x="20479" y="51911"/>
                  </a:lnTo>
                  <a:close/>
                  <a:moveTo>
                    <a:pt x="58579" y="34766"/>
                  </a:moveTo>
                  <a:cubicBezTo>
                    <a:pt x="62389" y="37624"/>
                    <a:pt x="64294" y="42386"/>
                    <a:pt x="64294" y="47149"/>
                  </a:cubicBezTo>
                  <a:cubicBezTo>
                    <a:pt x="64294" y="56674"/>
                    <a:pt x="56674" y="64294"/>
                    <a:pt x="47149" y="64294"/>
                  </a:cubicBezTo>
                  <a:cubicBezTo>
                    <a:pt x="7144" y="64294"/>
                    <a:pt x="7144" y="64294"/>
                    <a:pt x="7144" y="64294"/>
                  </a:cubicBezTo>
                  <a:cubicBezTo>
                    <a:pt x="7144" y="7144"/>
                    <a:pt x="7144" y="7144"/>
                    <a:pt x="7144" y="7144"/>
                  </a:cubicBezTo>
                  <a:cubicBezTo>
                    <a:pt x="46196" y="7144"/>
                    <a:pt x="46196" y="7144"/>
                    <a:pt x="46196" y="7144"/>
                  </a:cubicBezTo>
                  <a:cubicBezTo>
                    <a:pt x="55721" y="7144"/>
                    <a:pt x="62389" y="14764"/>
                    <a:pt x="62389" y="24289"/>
                  </a:cubicBezTo>
                  <a:cubicBezTo>
                    <a:pt x="63341" y="28099"/>
                    <a:pt x="61436" y="31909"/>
                    <a:pt x="58579" y="34766"/>
                  </a:cubicBezTo>
                  <a:lnTo>
                    <a:pt x="58579" y="3476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AAF4F819-8FA5-4933-A814-D0968AC880A0}"/>
                </a:ext>
              </a:extLst>
            </p:cNvPr>
            <p:cNvSpPr/>
            <p:nvPr userDrawn="1"/>
          </p:nvSpPr>
          <p:spPr>
            <a:xfrm>
              <a:off x="364331" y="848519"/>
              <a:ext cx="57150" cy="66675"/>
            </a:xfrm>
            <a:custGeom>
              <a:avLst/>
              <a:gdLst>
                <a:gd name="connsiteX0" fmla="*/ 54769 w 57150"/>
                <a:gd name="connsiteY0" fmla="*/ 7144 h 66675"/>
                <a:gd name="connsiteX1" fmla="*/ 54769 w 57150"/>
                <a:gd name="connsiteY1" fmla="*/ 18574 h 66675"/>
                <a:gd name="connsiteX2" fmla="*/ 19526 w 57150"/>
                <a:gd name="connsiteY2" fmla="*/ 18574 h 66675"/>
                <a:gd name="connsiteX3" fmla="*/ 19526 w 57150"/>
                <a:gd name="connsiteY3" fmla="*/ 29051 h 66675"/>
                <a:gd name="connsiteX4" fmla="*/ 52864 w 57150"/>
                <a:gd name="connsiteY4" fmla="*/ 29051 h 66675"/>
                <a:gd name="connsiteX5" fmla="*/ 52864 w 57150"/>
                <a:gd name="connsiteY5" fmla="*/ 40481 h 66675"/>
                <a:gd name="connsiteX6" fmla="*/ 19526 w 57150"/>
                <a:gd name="connsiteY6" fmla="*/ 40481 h 66675"/>
                <a:gd name="connsiteX7" fmla="*/ 19526 w 57150"/>
                <a:gd name="connsiteY7" fmla="*/ 52864 h 66675"/>
                <a:gd name="connsiteX8" fmla="*/ 54769 w 57150"/>
                <a:gd name="connsiteY8" fmla="*/ 52864 h 66675"/>
                <a:gd name="connsiteX9" fmla="*/ 54769 w 57150"/>
                <a:gd name="connsiteY9" fmla="*/ 64294 h 66675"/>
                <a:gd name="connsiteX10" fmla="*/ 7144 w 57150"/>
                <a:gd name="connsiteY10" fmla="*/ 64294 h 66675"/>
                <a:gd name="connsiteX11" fmla="*/ 7144 w 57150"/>
                <a:gd name="connsiteY11" fmla="*/ 7144 h 66675"/>
                <a:gd name="connsiteX12" fmla="*/ 54769 w 57150"/>
                <a:gd name="connsiteY12" fmla="*/ 7144 h 66675"/>
                <a:gd name="connsiteX13" fmla="*/ 54769 w 57150"/>
                <a:gd name="connsiteY13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66675">
                  <a:moveTo>
                    <a:pt x="54769" y="7144"/>
                  </a:moveTo>
                  <a:lnTo>
                    <a:pt x="54769" y="18574"/>
                  </a:lnTo>
                  <a:lnTo>
                    <a:pt x="19526" y="18574"/>
                  </a:lnTo>
                  <a:lnTo>
                    <a:pt x="19526" y="29051"/>
                  </a:lnTo>
                  <a:lnTo>
                    <a:pt x="52864" y="29051"/>
                  </a:lnTo>
                  <a:lnTo>
                    <a:pt x="52864" y="40481"/>
                  </a:lnTo>
                  <a:lnTo>
                    <a:pt x="19526" y="40481"/>
                  </a:lnTo>
                  <a:lnTo>
                    <a:pt x="19526" y="52864"/>
                  </a:lnTo>
                  <a:lnTo>
                    <a:pt x="54769" y="52864"/>
                  </a:lnTo>
                  <a:lnTo>
                    <a:pt x="54769" y="64294"/>
                  </a:lnTo>
                  <a:lnTo>
                    <a:pt x="7144" y="64294"/>
                  </a:lnTo>
                  <a:lnTo>
                    <a:pt x="7144" y="7144"/>
                  </a:lnTo>
                  <a:lnTo>
                    <a:pt x="54769" y="7144"/>
                  </a:lnTo>
                  <a:lnTo>
                    <a:pt x="54769" y="71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1377E2B8-F9E5-47DA-A04D-93243A86CECB}"/>
                </a:ext>
              </a:extLst>
            </p:cNvPr>
            <p:cNvSpPr/>
            <p:nvPr userDrawn="1"/>
          </p:nvSpPr>
          <p:spPr>
            <a:xfrm>
              <a:off x="364331" y="915194"/>
              <a:ext cx="66675" cy="66675"/>
            </a:xfrm>
            <a:custGeom>
              <a:avLst/>
              <a:gdLst>
                <a:gd name="connsiteX0" fmla="*/ 46196 w 66675"/>
                <a:gd name="connsiteY0" fmla="*/ 25241 h 66675"/>
                <a:gd name="connsiteX1" fmla="*/ 41434 w 66675"/>
                <a:gd name="connsiteY1" fmla="*/ 19526 h 66675"/>
                <a:gd name="connsiteX2" fmla="*/ 20479 w 66675"/>
                <a:gd name="connsiteY2" fmla="*/ 19526 h 66675"/>
                <a:gd name="connsiteX3" fmla="*/ 20479 w 66675"/>
                <a:gd name="connsiteY3" fmla="*/ 30004 h 66675"/>
                <a:gd name="connsiteX4" fmla="*/ 41434 w 66675"/>
                <a:gd name="connsiteY4" fmla="*/ 30004 h 66675"/>
                <a:gd name="connsiteX5" fmla="*/ 46196 w 66675"/>
                <a:gd name="connsiteY5" fmla="*/ 25241 h 66675"/>
                <a:gd name="connsiteX6" fmla="*/ 46196 w 66675"/>
                <a:gd name="connsiteY6" fmla="*/ 25241 h 66675"/>
                <a:gd name="connsiteX7" fmla="*/ 7144 w 66675"/>
                <a:gd name="connsiteY7" fmla="*/ 64294 h 66675"/>
                <a:gd name="connsiteX8" fmla="*/ 7144 w 66675"/>
                <a:gd name="connsiteY8" fmla="*/ 7144 h 66675"/>
                <a:gd name="connsiteX9" fmla="*/ 42386 w 66675"/>
                <a:gd name="connsiteY9" fmla="*/ 7144 h 66675"/>
                <a:gd name="connsiteX10" fmla="*/ 58579 w 66675"/>
                <a:gd name="connsiteY10" fmla="*/ 25241 h 66675"/>
                <a:gd name="connsiteX11" fmla="*/ 48101 w 66675"/>
                <a:gd name="connsiteY11" fmla="*/ 41434 h 66675"/>
                <a:gd name="connsiteX12" fmla="*/ 64294 w 66675"/>
                <a:gd name="connsiteY12" fmla="*/ 64294 h 66675"/>
                <a:gd name="connsiteX13" fmla="*/ 49054 w 66675"/>
                <a:gd name="connsiteY13" fmla="*/ 64294 h 66675"/>
                <a:gd name="connsiteX14" fmla="*/ 33814 w 66675"/>
                <a:gd name="connsiteY14" fmla="*/ 42386 h 66675"/>
                <a:gd name="connsiteX15" fmla="*/ 19526 w 66675"/>
                <a:gd name="connsiteY15" fmla="*/ 42386 h 66675"/>
                <a:gd name="connsiteX16" fmla="*/ 19526 w 66675"/>
                <a:gd name="connsiteY16" fmla="*/ 64294 h 66675"/>
                <a:gd name="connsiteX17" fmla="*/ 7144 w 66675"/>
                <a:gd name="connsiteY17" fmla="*/ 64294 h 66675"/>
                <a:gd name="connsiteX18" fmla="*/ 7144 w 66675"/>
                <a:gd name="connsiteY18" fmla="*/ 64294 h 66675"/>
                <a:gd name="connsiteX19" fmla="*/ 7144 w 66675"/>
                <a:gd name="connsiteY19" fmla="*/ 6429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6675" h="66675">
                  <a:moveTo>
                    <a:pt x="46196" y="25241"/>
                  </a:moveTo>
                  <a:cubicBezTo>
                    <a:pt x="46196" y="22384"/>
                    <a:pt x="44291" y="19526"/>
                    <a:pt x="41434" y="19526"/>
                  </a:cubicBezTo>
                  <a:cubicBezTo>
                    <a:pt x="20479" y="19526"/>
                    <a:pt x="20479" y="19526"/>
                    <a:pt x="20479" y="19526"/>
                  </a:cubicBezTo>
                  <a:cubicBezTo>
                    <a:pt x="20479" y="30004"/>
                    <a:pt x="20479" y="30004"/>
                    <a:pt x="20479" y="30004"/>
                  </a:cubicBezTo>
                  <a:cubicBezTo>
                    <a:pt x="41434" y="30004"/>
                    <a:pt x="41434" y="30004"/>
                    <a:pt x="41434" y="30004"/>
                  </a:cubicBezTo>
                  <a:cubicBezTo>
                    <a:pt x="43339" y="30004"/>
                    <a:pt x="46196" y="28099"/>
                    <a:pt x="46196" y="25241"/>
                  </a:cubicBezTo>
                  <a:lnTo>
                    <a:pt x="46196" y="25241"/>
                  </a:lnTo>
                  <a:close/>
                  <a:moveTo>
                    <a:pt x="7144" y="64294"/>
                  </a:moveTo>
                  <a:cubicBezTo>
                    <a:pt x="7144" y="7144"/>
                    <a:pt x="7144" y="7144"/>
                    <a:pt x="7144" y="7144"/>
                  </a:cubicBezTo>
                  <a:cubicBezTo>
                    <a:pt x="42386" y="7144"/>
                    <a:pt x="42386" y="7144"/>
                    <a:pt x="42386" y="7144"/>
                  </a:cubicBezTo>
                  <a:cubicBezTo>
                    <a:pt x="51911" y="7144"/>
                    <a:pt x="58579" y="14764"/>
                    <a:pt x="58579" y="25241"/>
                  </a:cubicBezTo>
                  <a:cubicBezTo>
                    <a:pt x="58579" y="32861"/>
                    <a:pt x="54769" y="39529"/>
                    <a:pt x="48101" y="41434"/>
                  </a:cubicBezTo>
                  <a:cubicBezTo>
                    <a:pt x="64294" y="64294"/>
                    <a:pt x="64294" y="64294"/>
                    <a:pt x="64294" y="64294"/>
                  </a:cubicBezTo>
                  <a:cubicBezTo>
                    <a:pt x="49054" y="64294"/>
                    <a:pt x="49054" y="64294"/>
                    <a:pt x="49054" y="64294"/>
                  </a:cubicBezTo>
                  <a:cubicBezTo>
                    <a:pt x="33814" y="42386"/>
                    <a:pt x="33814" y="42386"/>
                    <a:pt x="33814" y="42386"/>
                  </a:cubicBezTo>
                  <a:cubicBezTo>
                    <a:pt x="19526" y="42386"/>
                    <a:pt x="19526" y="42386"/>
                    <a:pt x="19526" y="42386"/>
                  </a:cubicBezTo>
                  <a:cubicBezTo>
                    <a:pt x="19526" y="64294"/>
                    <a:pt x="19526" y="64294"/>
                    <a:pt x="19526" y="64294"/>
                  </a:cubicBezTo>
                  <a:lnTo>
                    <a:pt x="7144" y="64294"/>
                  </a:lnTo>
                  <a:lnTo>
                    <a:pt x="7144" y="64294"/>
                  </a:lnTo>
                  <a:lnTo>
                    <a:pt x="7144" y="6429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</p:grpSp>
      <p:sp>
        <p:nvSpPr>
          <p:cNvPr id="23" name="MIO_VALID_LAYOUT" hidden="1">
            <a:extLst>
              <a:ext uri="{FF2B5EF4-FFF2-40B4-BE49-F238E27FC236}">
                <a16:creationId xmlns:a16="http://schemas.microsoft.com/office/drawing/2014/main" id="{56070DB7-AA9D-44F4-A996-8985C7C81EF6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</p:spTree>
    <p:extLst>
      <p:ext uri="{BB962C8B-B14F-4D97-AF65-F5344CB8AC3E}">
        <p14:creationId xmlns:p14="http://schemas.microsoft.com/office/powerpoint/2010/main" val="1559673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Image transparent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8E80C122-8886-4279-9470-CBDCAB58C3B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2" y="2"/>
            <a:ext cx="9143998" cy="5143499"/>
          </a:xfrm>
          <a:custGeom>
            <a:avLst/>
            <a:gdLst>
              <a:gd name="connsiteX0" fmla="*/ 384808 w 12190411"/>
              <a:gd name="connsiteY0" fmla="*/ 934719 h 6857999"/>
              <a:gd name="connsiteX1" fmla="*/ 405763 w 12190411"/>
              <a:gd name="connsiteY1" fmla="*/ 934719 h 6857999"/>
              <a:gd name="connsiteX2" fmla="*/ 410525 w 12190411"/>
              <a:gd name="connsiteY2" fmla="*/ 940434 h 6857999"/>
              <a:gd name="connsiteX3" fmla="*/ 405763 w 12190411"/>
              <a:gd name="connsiteY3" fmla="*/ 945197 h 6857999"/>
              <a:gd name="connsiteX4" fmla="*/ 384808 w 12190411"/>
              <a:gd name="connsiteY4" fmla="*/ 945197 h 6857999"/>
              <a:gd name="connsiteX5" fmla="*/ 384808 w 12190411"/>
              <a:gd name="connsiteY5" fmla="*/ 934719 h 6857999"/>
              <a:gd name="connsiteX6" fmla="*/ 371473 w 12190411"/>
              <a:gd name="connsiteY6" fmla="*/ 922337 h 6857999"/>
              <a:gd name="connsiteX7" fmla="*/ 371473 w 12190411"/>
              <a:gd name="connsiteY7" fmla="*/ 979487 h 6857999"/>
              <a:gd name="connsiteX8" fmla="*/ 383855 w 12190411"/>
              <a:gd name="connsiteY8" fmla="*/ 979487 h 6857999"/>
              <a:gd name="connsiteX9" fmla="*/ 383855 w 12190411"/>
              <a:gd name="connsiteY9" fmla="*/ 957579 h 6857999"/>
              <a:gd name="connsiteX10" fmla="*/ 398143 w 12190411"/>
              <a:gd name="connsiteY10" fmla="*/ 957579 h 6857999"/>
              <a:gd name="connsiteX11" fmla="*/ 413383 w 12190411"/>
              <a:gd name="connsiteY11" fmla="*/ 979487 h 6857999"/>
              <a:gd name="connsiteX12" fmla="*/ 428623 w 12190411"/>
              <a:gd name="connsiteY12" fmla="*/ 979487 h 6857999"/>
              <a:gd name="connsiteX13" fmla="*/ 412430 w 12190411"/>
              <a:gd name="connsiteY13" fmla="*/ 956627 h 6857999"/>
              <a:gd name="connsiteX14" fmla="*/ 422908 w 12190411"/>
              <a:gd name="connsiteY14" fmla="*/ 940434 h 6857999"/>
              <a:gd name="connsiteX15" fmla="*/ 406715 w 12190411"/>
              <a:gd name="connsiteY15" fmla="*/ 922337 h 6857999"/>
              <a:gd name="connsiteX16" fmla="*/ 371473 w 12190411"/>
              <a:gd name="connsiteY16" fmla="*/ 922337 h 6857999"/>
              <a:gd name="connsiteX17" fmla="*/ 371473 w 12190411"/>
              <a:gd name="connsiteY17" fmla="*/ 855662 h 6857999"/>
              <a:gd name="connsiteX18" fmla="*/ 371473 w 12190411"/>
              <a:gd name="connsiteY18" fmla="*/ 912812 h 6857999"/>
              <a:gd name="connsiteX19" fmla="*/ 419098 w 12190411"/>
              <a:gd name="connsiteY19" fmla="*/ 912812 h 6857999"/>
              <a:gd name="connsiteX20" fmla="*/ 419098 w 12190411"/>
              <a:gd name="connsiteY20" fmla="*/ 901382 h 6857999"/>
              <a:gd name="connsiteX21" fmla="*/ 383855 w 12190411"/>
              <a:gd name="connsiteY21" fmla="*/ 901382 h 6857999"/>
              <a:gd name="connsiteX22" fmla="*/ 383855 w 12190411"/>
              <a:gd name="connsiteY22" fmla="*/ 888999 h 6857999"/>
              <a:gd name="connsiteX23" fmla="*/ 417193 w 12190411"/>
              <a:gd name="connsiteY23" fmla="*/ 888999 h 6857999"/>
              <a:gd name="connsiteX24" fmla="*/ 417193 w 12190411"/>
              <a:gd name="connsiteY24" fmla="*/ 877569 h 6857999"/>
              <a:gd name="connsiteX25" fmla="*/ 383855 w 12190411"/>
              <a:gd name="connsiteY25" fmla="*/ 877569 h 6857999"/>
              <a:gd name="connsiteX26" fmla="*/ 383855 w 12190411"/>
              <a:gd name="connsiteY26" fmla="*/ 867092 h 6857999"/>
              <a:gd name="connsiteX27" fmla="*/ 419098 w 12190411"/>
              <a:gd name="connsiteY27" fmla="*/ 867092 h 6857999"/>
              <a:gd name="connsiteX28" fmla="*/ 419098 w 12190411"/>
              <a:gd name="connsiteY28" fmla="*/ 855662 h 6857999"/>
              <a:gd name="connsiteX29" fmla="*/ 251459 w 12190411"/>
              <a:gd name="connsiteY29" fmla="*/ 822324 h 6857999"/>
              <a:gd name="connsiteX30" fmla="*/ 276223 w 12190411"/>
              <a:gd name="connsiteY30" fmla="*/ 822324 h 6857999"/>
              <a:gd name="connsiteX31" fmla="*/ 281939 w 12190411"/>
              <a:gd name="connsiteY31" fmla="*/ 828039 h 6857999"/>
              <a:gd name="connsiteX32" fmla="*/ 276223 w 12190411"/>
              <a:gd name="connsiteY32" fmla="*/ 833754 h 6857999"/>
              <a:gd name="connsiteX33" fmla="*/ 251459 w 12190411"/>
              <a:gd name="connsiteY33" fmla="*/ 833754 h 6857999"/>
              <a:gd name="connsiteX34" fmla="*/ 332422 w 12190411"/>
              <a:gd name="connsiteY34" fmla="*/ 802322 h 6857999"/>
              <a:gd name="connsiteX35" fmla="*/ 341947 w 12190411"/>
              <a:gd name="connsiteY35" fmla="*/ 824229 h 6857999"/>
              <a:gd name="connsiteX36" fmla="*/ 322897 w 12190411"/>
              <a:gd name="connsiteY36" fmla="*/ 824229 h 6857999"/>
              <a:gd name="connsiteX37" fmla="*/ 518159 w 12190411"/>
              <a:gd name="connsiteY37" fmla="*/ 801370 h 6857999"/>
              <a:gd name="connsiteX38" fmla="*/ 538161 w 12190411"/>
              <a:gd name="connsiteY38" fmla="*/ 801370 h 6857999"/>
              <a:gd name="connsiteX39" fmla="*/ 543876 w 12190411"/>
              <a:gd name="connsiteY39" fmla="*/ 806133 h 6857999"/>
              <a:gd name="connsiteX40" fmla="*/ 538161 w 12190411"/>
              <a:gd name="connsiteY40" fmla="*/ 811848 h 6857999"/>
              <a:gd name="connsiteX41" fmla="*/ 518159 w 12190411"/>
              <a:gd name="connsiteY41" fmla="*/ 811848 h 6857999"/>
              <a:gd name="connsiteX42" fmla="*/ 518159 w 12190411"/>
              <a:gd name="connsiteY42" fmla="*/ 801370 h 6857999"/>
              <a:gd name="connsiteX43" fmla="*/ 251459 w 12190411"/>
              <a:gd name="connsiteY43" fmla="*/ 801369 h 6857999"/>
              <a:gd name="connsiteX44" fmla="*/ 275271 w 12190411"/>
              <a:gd name="connsiteY44" fmla="*/ 801369 h 6857999"/>
              <a:gd name="connsiteX45" fmla="*/ 280034 w 12190411"/>
              <a:gd name="connsiteY45" fmla="*/ 806132 h 6857999"/>
              <a:gd name="connsiteX46" fmla="*/ 275271 w 12190411"/>
              <a:gd name="connsiteY46" fmla="*/ 810894 h 6857999"/>
              <a:gd name="connsiteX47" fmla="*/ 251459 w 12190411"/>
              <a:gd name="connsiteY47" fmla="*/ 810894 h 6857999"/>
              <a:gd name="connsiteX48" fmla="*/ 438149 w 12190411"/>
              <a:gd name="connsiteY48" fmla="*/ 788988 h 6857999"/>
              <a:gd name="connsiteX49" fmla="*/ 438149 w 12190411"/>
              <a:gd name="connsiteY49" fmla="*/ 846138 h 6857999"/>
              <a:gd name="connsiteX50" fmla="*/ 485774 w 12190411"/>
              <a:gd name="connsiteY50" fmla="*/ 846138 h 6857999"/>
              <a:gd name="connsiteX51" fmla="*/ 485774 w 12190411"/>
              <a:gd name="connsiteY51" fmla="*/ 834708 h 6857999"/>
              <a:gd name="connsiteX52" fmla="*/ 450531 w 12190411"/>
              <a:gd name="connsiteY52" fmla="*/ 834708 h 6857999"/>
              <a:gd name="connsiteX53" fmla="*/ 450531 w 12190411"/>
              <a:gd name="connsiteY53" fmla="*/ 822325 h 6857999"/>
              <a:gd name="connsiteX54" fmla="*/ 485774 w 12190411"/>
              <a:gd name="connsiteY54" fmla="*/ 822325 h 6857999"/>
              <a:gd name="connsiteX55" fmla="*/ 485774 w 12190411"/>
              <a:gd name="connsiteY55" fmla="*/ 810895 h 6857999"/>
              <a:gd name="connsiteX56" fmla="*/ 450531 w 12190411"/>
              <a:gd name="connsiteY56" fmla="*/ 810895 h 6857999"/>
              <a:gd name="connsiteX57" fmla="*/ 450531 w 12190411"/>
              <a:gd name="connsiteY57" fmla="*/ 800418 h 6857999"/>
              <a:gd name="connsiteX58" fmla="*/ 485774 w 12190411"/>
              <a:gd name="connsiteY58" fmla="*/ 800418 h 6857999"/>
              <a:gd name="connsiteX59" fmla="*/ 485774 w 12190411"/>
              <a:gd name="connsiteY59" fmla="*/ 788988 h 6857999"/>
              <a:gd name="connsiteX60" fmla="*/ 361949 w 12190411"/>
              <a:gd name="connsiteY60" fmla="*/ 788988 h 6857999"/>
              <a:gd name="connsiteX61" fmla="*/ 388619 w 12190411"/>
              <a:gd name="connsiteY61" fmla="*/ 826135 h 6857999"/>
              <a:gd name="connsiteX62" fmla="*/ 388619 w 12190411"/>
              <a:gd name="connsiteY62" fmla="*/ 846138 h 6857999"/>
              <a:gd name="connsiteX63" fmla="*/ 401954 w 12190411"/>
              <a:gd name="connsiteY63" fmla="*/ 846138 h 6857999"/>
              <a:gd name="connsiteX64" fmla="*/ 401954 w 12190411"/>
              <a:gd name="connsiteY64" fmla="*/ 826135 h 6857999"/>
              <a:gd name="connsiteX65" fmla="*/ 428624 w 12190411"/>
              <a:gd name="connsiteY65" fmla="*/ 788988 h 6857999"/>
              <a:gd name="connsiteX66" fmla="*/ 413384 w 12190411"/>
              <a:gd name="connsiteY66" fmla="*/ 788988 h 6857999"/>
              <a:gd name="connsiteX67" fmla="*/ 396239 w 12190411"/>
              <a:gd name="connsiteY67" fmla="*/ 813753 h 6857999"/>
              <a:gd name="connsiteX68" fmla="*/ 377189 w 12190411"/>
              <a:gd name="connsiteY68" fmla="*/ 788988 h 6857999"/>
              <a:gd name="connsiteX69" fmla="*/ 504824 w 12190411"/>
              <a:gd name="connsiteY69" fmla="*/ 788988 h 6857999"/>
              <a:gd name="connsiteX70" fmla="*/ 504824 w 12190411"/>
              <a:gd name="connsiteY70" fmla="*/ 846138 h 6857999"/>
              <a:gd name="connsiteX71" fmla="*/ 518159 w 12190411"/>
              <a:gd name="connsiteY71" fmla="*/ 846138 h 6857999"/>
              <a:gd name="connsiteX72" fmla="*/ 518159 w 12190411"/>
              <a:gd name="connsiteY72" fmla="*/ 824230 h 6857999"/>
              <a:gd name="connsiteX73" fmla="*/ 528636 w 12190411"/>
              <a:gd name="connsiteY73" fmla="*/ 824230 h 6857999"/>
              <a:gd name="connsiteX74" fmla="*/ 545781 w 12190411"/>
              <a:gd name="connsiteY74" fmla="*/ 846138 h 6857999"/>
              <a:gd name="connsiteX75" fmla="*/ 561974 w 12190411"/>
              <a:gd name="connsiteY75" fmla="*/ 846138 h 6857999"/>
              <a:gd name="connsiteX76" fmla="*/ 544829 w 12190411"/>
              <a:gd name="connsiteY76" fmla="*/ 824230 h 6857999"/>
              <a:gd name="connsiteX77" fmla="*/ 558164 w 12190411"/>
              <a:gd name="connsiteY77" fmla="*/ 807085 h 6857999"/>
              <a:gd name="connsiteX78" fmla="*/ 540066 w 12190411"/>
              <a:gd name="connsiteY78" fmla="*/ 788988 h 6857999"/>
              <a:gd name="connsiteX79" fmla="*/ 504824 w 12190411"/>
              <a:gd name="connsiteY79" fmla="*/ 788988 h 6857999"/>
              <a:gd name="connsiteX80" fmla="*/ 326707 w 12190411"/>
              <a:gd name="connsiteY80" fmla="*/ 788988 h 6857999"/>
              <a:gd name="connsiteX81" fmla="*/ 300037 w 12190411"/>
              <a:gd name="connsiteY81" fmla="*/ 846137 h 6857999"/>
              <a:gd name="connsiteX82" fmla="*/ 314324 w 12190411"/>
              <a:gd name="connsiteY82" fmla="*/ 846137 h 6857999"/>
              <a:gd name="connsiteX83" fmla="*/ 318134 w 12190411"/>
              <a:gd name="connsiteY83" fmla="*/ 835659 h 6857999"/>
              <a:gd name="connsiteX84" fmla="*/ 347662 w 12190411"/>
              <a:gd name="connsiteY84" fmla="*/ 835659 h 6857999"/>
              <a:gd name="connsiteX85" fmla="*/ 352424 w 12190411"/>
              <a:gd name="connsiteY85" fmla="*/ 846137 h 6857999"/>
              <a:gd name="connsiteX86" fmla="*/ 366712 w 12190411"/>
              <a:gd name="connsiteY86" fmla="*/ 846137 h 6857999"/>
              <a:gd name="connsiteX87" fmla="*/ 339089 w 12190411"/>
              <a:gd name="connsiteY87" fmla="*/ 788988 h 6857999"/>
              <a:gd name="connsiteX88" fmla="*/ 238124 w 12190411"/>
              <a:gd name="connsiteY88" fmla="*/ 788987 h 6857999"/>
              <a:gd name="connsiteX89" fmla="*/ 238124 w 12190411"/>
              <a:gd name="connsiteY89" fmla="*/ 846137 h 6857999"/>
              <a:gd name="connsiteX90" fmla="*/ 278128 w 12190411"/>
              <a:gd name="connsiteY90" fmla="*/ 846137 h 6857999"/>
              <a:gd name="connsiteX91" fmla="*/ 295274 w 12190411"/>
              <a:gd name="connsiteY91" fmla="*/ 828992 h 6857999"/>
              <a:gd name="connsiteX92" fmla="*/ 289559 w 12190411"/>
              <a:gd name="connsiteY92" fmla="*/ 816609 h 6857999"/>
              <a:gd name="connsiteX93" fmla="*/ 293368 w 12190411"/>
              <a:gd name="connsiteY93" fmla="*/ 806132 h 6857999"/>
              <a:gd name="connsiteX94" fmla="*/ 277176 w 12190411"/>
              <a:gd name="connsiteY94" fmla="*/ 788987 h 6857999"/>
              <a:gd name="connsiteX95" fmla="*/ 238124 w 12190411"/>
              <a:gd name="connsiteY95" fmla="*/ 788987 h 6857999"/>
              <a:gd name="connsiteX96" fmla="*/ 394334 w 12190411"/>
              <a:gd name="connsiteY96" fmla="*/ 735647 h 6857999"/>
              <a:gd name="connsiteX97" fmla="*/ 403859 w 12190411"/>
              <a:gd name="connsiteY97" fmla="*/ 757554 h 6857999"/>
              <a:gd name="connsiteX98" fmla="*/ 384809 w 12190411"/>
              <a:gd name="connsiteY98" fmla="*/ 757554 h 6857999"/>
              <a:gd name="connsiteX99" fmla="*/ 388619 w 12190411"/>
              <a:gd name="connsiteY99" fmla="*/ 722312 h 6857999"/>
              <a:gd name="connsiteX100" fmla="*/ 361949 w 12190411"/>
              <a:gd name="connsiteY100" fmla="*/ 779462 h 6857999"/>
              <a:gd name="connsiteX101" fmla="*/ 376236 w 12190411"/>
              <a:gd name="connsiteY101" fmla="*/ 779462 h 6857999"/>
              <a:gd name="connsiteX102" fmla="*/ 380046 w 12190411"/>
              <a:gd name="connsiteY102" fmla="*/ 768984 h 6857999"/>
              <a:gd name="connsiteX103" fmla="*/ 409574 w 12190411"/>
              <a:gd name="connsiteY103" fmla="*/ 768984 h 6857999"/>
              <a:gd name="connsiteX104" fmla="*/ 414336 w 12190411"/>
              <a:gd name="connsiteY104" fmla="*/ 779462 h 6857999"/>
              <a:gd name="connsiteX105" fmla="*/ 428624 w 12190411"/>
              <a:gd name="connsiteY105" fmla="*/ 779462 h 6857999"/>
              <a:gd name="connsiteX106" fmla="*/ 401001 w 12190411"/>
              <a:gd name="connsiteY106" fmla="*/ 722312 h 6857999"/>
              <a:gd name="connsiteX107" fmla="*/ 384810 w 12190411"/>
              <a:gd name="connsiteY107" fmla="*/ 688975 h 6857999"/>
              <a:gd name="connsiteX108" fmla="*/ 409575 w 12190411"/>
              <a:gd name="connsiteY108" fmla="*/ 688975 h 6857999"/>
              <a:gd name="connsiteX109" fmla="*/ 415290 w 12190411"/>
              <a:gd name="connsiteY109" fmla="*/ 694690 h 6857999"/>
              <a:gd name="connsiteX110" fmla="*/ 409575 w 12190411"/>
              <a:gd name="connsiteY110" fmla="*/ 700405 h 6857999"/>
              <a:gd name="connsiteX111" fmla="*/ 384810 w 12190411"/>
              <a:gd name="connsiteY111" fmla="*/ 700405 h 6857999"/>
              <a:gd name="connsiteX112" fmla="*/ 384810 w 12190411"/>
              <a:gd name="connsiteY112" fmla="*/ 668020 h 6857999"/>
              <a:gd name="connsiteX113" fmla="*/ 408622 w 12190411"/>
              <a:gd name="connsiteY113" fmla="*/ 668020 h 6857999"/>
              <a:gd name="connsiteX114" fmla="*/ 413385 w 12190411"/>
              <a:gd name="connsiteY114" fmla="*/ 672783 h 6857999"/>
              <a:gd name="connsiteX115" fmla="*/ 408622 w 12190411"/>
              <a:gd name="connsiteY115" fmla="*/ 677545 h 6857999"/>
              <a:gd name="connsiteX116" fmla="*/ 384810 w 12190411"/>
              <a:gd name="connsiteY116" fmla="*/ 677545 h 6857999"/>
              <a:gd name="connsiteX117" fmla="*/ 371475 w 12190411"/>
              <a:gd name="connsiteY117" fmla="*/ 655638 h 6857999"/>
              <a:gd name="connsiteX118" fmla="*/ 371475 w 12190411"/>
              <a:gd name="connsiteY118" fmla="*/ 712788 h 6857999"/>
              <a:gd name="connsiteX119" fmla="*/ 411480 w 12190411"/>
              <a:gd name="connsiteY119" fmla="*/ 712788 h 6857999"/>
              <a:gd name="connsiteX120" fmla="*/ 428625 w 12190411"/>
              <a:gd name="connsiteY120" fmla="*/ 695643 h 6857999"/>
              <a:gd name="connsiteX121" fmla="*/ 423862 w 12190411"/>
              <a:gd name="connsiteY121" fmla="*/ 683260 h 6857999"/>
              <a:gd name="connsiteX122" fmla="*/ 426720 w 12190411"/>
              <a:gd name="connsiteY122" fmla="*/ 672783 h 6857999"/>
              <a:gd name="connsiteX123" fmla="*/ 410527 w 12190411"/>
              <a:gd name="connsiteY123" fmla="*/ 655638 h 6857999"/>
              <a:gd name="connsiteX124" fmla="*/ 371475 w 12190411"/>
              <a:gd name="connsiteY124" fmla="*/ 655638 h 6857999"/>
              <a:gd name="connsiteX125" fmla="*/ 395906 w 12190411"/>
              <a:gd name="connsiteY125" fmla="*/ 642093 h 6857999"/>
              <a:gd name="connsiteX126" fmla="*/ 556451 w 12190411"/>
              <a:gd name="connsiteY126" fmla="*/ 723125 h 6857999"/>
              <a:gd name="connsiteX127" fmla="*/ 580894 w 12190411"/>
              <a:gd name="connsiteY127" fmla="*/ 766886 h 6857999"/>
              <a:gd name="connsiteX128" fmla="*/ 580897 w 12190411"/>
              <a:gd name="connsiteY128" fmla="*/ 766897 h 6857999"/>
              <a:gd name="connsiteX129" fmla="*/ 556803 w 12190411"/>
              <a:gd name="connsiteY129" fmla="*/ 723932 h 6857999"/>
              <a:gd name="connsiteX130" fmla="*/ 396257 w 12190411"/>
              <a:gd name="connsiteY130" fmla="*/ 642938 h 6857999"/>
              <a:gd name="connsiteX131" fmla="*/ 570519 w 12190411"/>
              <a:gd name="connsiteY131" fmla="*/ 804925 h 6857999"/>
              <a:gd name="connsiteX132" fmla="*/ 570870 w 12190411"/>
              <a:gd name="connsiteY132" fmla="*/ 817197 h 6857999"/>
              <a:gd name="connsiteX133" fmla="*/ 570519 w 12190411"/>
              <a:gd name="connsiteY133" fmla="*/ 829469 h 6857999"/>
              <a:gd name="connsiteX134" fmla="*/ 396257 w 12190411"/>
              <a:gd name="connsiteY134" fmla="*/ 991281 h 6857999"/>
              <a:gd name="connsiteX135" fmla="*/ 235711 w 12190411"/>
              <a:gd name="connsiteY135" fmla="*/ 910463 h 6857999"/>
              <a:gd name="connsiteX136" fmla="*/ 211203 w 12190411"/>
              <a:gd name="connsiteY136" fmla="*/ 866701 h 6857999"/>
              <a:gd name="connsiteX137" fmla="*/ 211136 w 12190411"/>
              <a:gd name="connsiteY137" fmla="*/ 866439 h 6857999"/>
              <a:gd name="connsiteX138" fmla="*/ 235360 w 12190411"/>
              <a:gd name="connsiteY138" fmla="*/ 909744 h 6857999"/>
              <a:gd name="connsiteX139" fmla="*/ 395906 w 12190411"/>
              <a:gd name="connsiteY139" fmla="*/ 990600 h 6857999"/>
              <a:gd name="connsiteX140" fmla="*/ 221644 w 12190411"/>
              <a:gd name="connsiteY140" fmla="*/ 828712 h 6857999"/>
              <a:gd name="connsiteX141" fmla="*/ 221292 w 12190411"/>
              <a:gd name="connsiteY141" fmla="*/ 816434 h 6857999"/>
              <a:gd name="connsiteX142" fmla="*/ 221644 w 12190411"/>
              <a:gd name="connsiteY142" fmla="*/ 804157 h 6857999"/>
              <a:gd name="connsiteX143" fmla="*/ 395906 w 12190411"/>
              <a:gd name="connsiteY143" fmla="*/ 642093 h 6857999"/>
              <a:gd name="connsiteX144" fmla="*/ 395906 w 12190411"/>
              <a:gd name="connsiteY144" fmla="*/ 617538 h 6857999"/>
              <a:gd name="connsiteX145" fmla="*/ 196850 w 12190411"/>
              <a:gd name="connsiteY145" fmla="*/ 804157 h 6857999"/>
              <a:gd name="connsiteX146" fmla="*/ 197141 w 12190411"/>
              <a:gd name="connsiteY146" fmla="*/ 807054 h 6857999"/>
              <a:gd name="connsiteX147" fmla="*/ 196850 w 12190411"/>
              <a:gd name="connsiteY147" fmla="*/ 817197 h 6857999"/>
              <a:gd name="connsiteX148" fmla="*/ 197202 w 12190411"/>
              <a:gd name="connsiteY148" fmla="*/ 829469 h 6857999"/>
              <a:gd name="connsiteX149" fmla="*/ 396257 w 12190411"/>
              <a:gd name="connsiteY149" fmla="*/ 1016000 h 6857999"/>
              <a:gd name="connsiteX150" fmla="*/ 595313 w 12190411"/>
              <a:gd name="connsiteY150" fmla="*/ 829469 h 6857999"/>
              <a:gd name="connsiteX151" fmla="*/ 595023 w 12190411"/>
              <a:gd name="connsiteY151" fmla="*/ 826543 h 6857999"/>
              <a:gd name="connsiteX152" fmla="*/ 595313 w 12190411"/>
              <a:gd name="connsiteY152" fmla="*/ 816434 h 6857999"/>
              <a:gd name="connsiteX153" fmla="*/ 594961 w 12190411"/>
              <a:gd name="connsiteY153" fmla="*/ 804157 h 6857999"/>
              <a:gd name="connsiteX154" fmla="*/ 395906 w 12190411"/>
              <a:gd name="connsiteY154" fmla="*/ 617538 h 6857999"/>
              <a:gd name="connsiteX155" fmla="*/ 6285641 w 12190411"/>
              <a:gd name="connsiteY155" fmla="*/ 0 h 6857999"/>
              <a:gd name="connsiteX156" fmla="*/ 12190411 w 12190411"/>
              <a:gd name="connsiteY156" fmla="*/ 0 h 6857999"/>
              <a:gd name="connsiteX157" fmla="*/ 12190411 w 12190411"/>
              <a:gd name="connsiteY157" fmla="*/ 6005393 h 6857999"/>
              <a:gd name="connsiteX158" fmla="*/ 9456588 w 12190411"/>
              <a:gd name="connsiteY158" fmla="*/ 6488000 h 6857999"/>
              <a:gd name="connsiteX159" fmla="*/ 9456594 w 12190411"/>
              <a:gd name="connsiteY159" fmla="*/ 6487971 h 6857999"/>
              <a:gd name="connsiteX160" fmla="*/ 7360503 w 12190411"/>
              <a:gd name="connsiteY160" fmla="*/ 6857999 h 6857999"/>
              <a:gd name="connsiteX161" fmla="*/ 3780054 w 12190411"/>
              <a:gd name="connsiteY161" fmla="*/ 6857999 h 6857999"/>
              <a:gd name="connsiteX162" fmla="*/ 0 w 12190411"/>
              <a:gd name="connsiteY162" fmla="*/ 0 h 6857999"/>
              <a:gd name="connsiteX163" fmla="*/ 6266477 w 12190411"/>
              <a:gd name="connsiteY163" fmla="*/ 0 h 6857999"/>
              <a:gd name="connsiteX164" fmla="*/ 3760890 w 12190411"/>
              <a:gd name="connsiteY164" fmla="*/ 6857999 h 6857999"/>
              <a:gd name="connsiteX165" fmla="*/ 0 w 12190411"/>
              <a:gd name="connsiteY165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12190411" h="6857999">
                <a:moveTo>
                  <a:pt x="384808" y="934719"/>
                </a:moveTo>
                <a:cubicBezTo>
                  <a:pt x="384808" y="934719"/>
                  <a:pt x="384808" y="934719"/>
                  <a:pt x="405763" y="934719"/>
                </a:cubicBezTo>
                <a:cubicBezTo>
                  <a:pt x="408620" y="934719"/>
                  <a:pt x="410525" y="937577"/>
                  <a:pt x="410525" y="940434"/>
                </a:cubicBezTo>
                <a:cubicBezTo>
                  <a:pt x="410525" y="943292"/>
                  <a:pt x="407668" y="945197"/>
                  <a:pt x="405763" y="945197"/>
                </a:cubicBezTo>
                <a:cubicBezTo>
                  <a:pt x="405763" y="945197"/>
                  <a:pt x="405763" y="945197"/>
                  <a:pt x="384808" y="945197"/>
                </a:cubicBezTo>
                <a:cubicBezTo>
                  <a:pt x="384808" y="945197"/>
                  <a:pt x="384808" y="945197"/>
                  <a:pt x="384808" y="934719"/>
                </a:cubicBezTo>
                <a:close/>
                <a:moveTo>
                  <a:pt x="371473" y="922337"/>
                </a:moveTo>
                <a:cubicBezTo>
                  <a:pt x="371473" y="922337"/>
                  <a:pt x="371473" y="922337"/>
                  <a:pt x="371473" y="979487"/>
                </a:cubicBezTo>
                <a:lnTo>
                  <a:pt x="383855" y="979487"/>
                </a:lnTo>
                <a:cubicBezTo>
                  <a:pt x="383855" y="979487"/>
                  <a:pt x="383855" y="979487"/>
                  <a:pt x="383855" y="957579"/>
                </a:cubicBezTo>
                <a:cubicBezTo>
                  <a:pt x="383855" y="957579"/>
                  <a:pt x="383855" y="957579"/>
                  <a:pt x="398143" y="957579"/>
                </a:cubicBezTo>
                <a:cubicBezTo>
                  <a:pt x="398143" y="957579"/>
                  <a:pt x="398143" y="957579"/>
                  <a:pt x="413383" y="979487"/>
                </a:cubicBezTo>
                <a:cubicBezTo>
                  <a:pt x="413383" y="979487"/>
                  <a:pt x="413383" y="979487"/>
                  <a:pt x="428623" y="979487"/>
                </a:cubicBezTo>
                <a:cubicBezTo>
                  <a:pt x="428623" y="979487"/>
                  <a:pt x="428623" y="979487"/>
                  <a:pt x="412430" y="956627"/>
                </a:cubicBezTo>
                <a:cubicBezTo>
                  <a:pt x="419098" y="954722"/>
                  <a:pt x="422908" y="948054"/>
                  <a:pt x="422908" y="940434"/>
                </a:cubicBezTo>
                <a:cubicBezTo>
                  <a:pt x="422908" y="929957"/>
                  <a:pt x="416240" y="922337"/>
                  <a:pt x="406715" y="922337"/>
                </a:cubicBezTo>
                <a:cubicBezTo>
                  <a:pt x="406715" y="922337"/>
                  <a:pt x="406715" y="922337"/>
                  <a:pt x="371473" y="922337"/>
                </a:cubicBezTo>
                <a:close/>
                <a:moveTo>
                  <a:pt x="371473" y="855662"/>
                </a:moveTo>
                <a:lnTo>
                  <a:pt x="371473" y="912812"/>
                </a:lnTo>
                <a:lnTo>
                  <a:pt x="419098" y="912812"/>
                </a:lnTo>
                <a:lnTo>
                  <a:pt x="419098" y="901382"/>
                </a:lnTo>
                <a:lnTo>
                  <a:pt x="383855" y="901382"/>
                </a:lnTo>
                <a:lnTo>
                  <a:pt x="383855" y="888999"/>
                </a:lnTo>
                <a:lnTo>
                  <a:pt x="417193" y="888999"/>
                </a:lnTo>
                <a:lnTo>
                  <a:pt x="417193" y="877569"/>
                </a:lnTo>
                <a:lnTo>
                  <a:pt x="383855" y="877569"/>
                </a:lnTo>
                <a:lnTo>
                  <a:pt x="383855" y="867092"/>
                </a:lnTo>
                <a:lnTo>
                  <a:pt x="419098" y="867092"/>
                </a:lnTo>
                <a:lnTo>
                  <a:pt x="419098" y="855662"/>
                </a:lnTo>
                <a:close/>
                <a:moveTo>
                  <a:pt x="251459" y="822324"/>
                </a:moveTo>
                <a:cubicBezTo>
                  <a:pt x="251459" y="822324"/>
                  <a:pt x="251459" y="822324"/>
                  <a:pt x="276223" y="822324"/>
                </a:cubicBezTo>
                <a:cubicBezTo>
                  <a:pt x="279081" y="822324"/>
                  <a:pt x="281939" y="825182"/>
                  <a:pt x="281939" y="828039"/>
                </a:cubicBezTo>
                <a:cubicBezTo>
                  <a:pt x="281939" y="830897"/>
                  <a:pt x="279081" y="833754"/>
                  <a:pt x="276223" y="833754"/>
                </a:cubicBezTo>
                <a:cubicBezTo>
                  <a:pt x="276223" y="833754"/>
                  <a:pt x="276223" y="833754"/>
                  <a:pt x="251459" y="833754"/>
                </a:cubicBezTo>
                <a:close/>
                <a:moveTo>
                  <a:pt x="332422" y="802322"/>
                </a:moveTo>
                <a:lnTo>
                  <a:pt x="341947" y="824229"/>
                </a:lnTo>
                <a:lnTo>
                  <a:pt x="322897" y="824229"/>
                </a:lnTo>
                <a:close/>
                <a:moveTo>
                  <a:pt x="518159" y="801370"/>
                </a:moveTo>
                <a:cubicBezTo>
                  <a:pt x="518159" y="801370"/>
                  <a:pt x="518159" y="801370"/>
                  <a:pt x="538161" y="801370"/>
                </a:cubicBezTo>
                <a:cubicBezTo>
                  <a:pt x="541971" y="801370"/>
                  <a:pt x="543876" y="803275"/>
                  <a:pt x="543876" y="806133"/>
                </a:cubicBezTo>
                <a:cubicBezTo>
                  <a:pt x="543876" y="808990"/>
                  <a:pt x="541019" y="811848"/>
                  <a:pt x="538161" y="811848"/>
                </a:cubicBezTo>
                <a:cubicBezTo>
                  <a:pt x="538161" y="811848"/>
                  <a:pt x="538161" y="811848"/>
                  <a:pt x="518159" y="811848"/>
                </a:cubicBezTo>
                <a:cubicBezTo>
                  <a:pt x="518159" y="811848"/>
                  <a:pt x="518159" y="811848"/>
                  <a:pt x="518159" y="801370"/>
                </a:cubicBezTo>
                <a:close/>
                <a:moveTo>
                  <a:pt x="251459" y="801369"/>
                </a:moveTo>
                <a:cubicBezTo>
                  <a:pt x="251459" y="801369"/>
                  <a:pt x="251459" y="801369"/>
                  <a:pt x="275271" y="801369"/>
                </a:cubicBezTo>
                <a:cubicBezTo>
                  <a:pt x="278128" y="801369"/>
                  <a:pt x="280034" y="803274"/>
                  <a:pt x="280034" y="806132"/>
                </a:cubicBezTo>
                <a:cubicBezTo>
                  <a:pt x="280034" y="808989"/>
                  <a:pt x="278128" y="810894"/>
                  <a:pt x="275271" y="810894"/>
                </a:cubicBezTo>
                <a:cubicBezTo>
                  <a:pt x="275271" y="810894"/>
                  <a:pt x="275271" y="810894"/>
                  <a:pt x="251459" y="810894"/>
                </a:cubicBezTo>
                <a:close/>
                <a:moveTo>
                  <a:pt x="438149" y="788988"/>
                </a:moveTo>
                <a:lnTo>
                  <a:pt x="438149" y="846138"/>
                </a:lnTo>
                <a:lnTo>
                  <a:pt x="485774" y="846138"/>
                </a:lnTo>
                <a:lnTo>
                  <a:pt x="485774" y="834708"/>
                </a:lnTo>
                <a:lnTo>
                  <a:pt x="450531" y="834708"/>
                </a:lnTo>
                <a:lnTo>
                  <a:pt x="450531" y="822325"/>
                </a:lnTo>
                <a:lnTo>
                  <a:pt x="485774" y="822325"/>
                </a:lnTo>
                <a:lnTo>
                  <a:pt x="485774" y="810895"/>
                </a:lnTo>
                <a:lnTo>
                  <a:pt x="450531" y="810895"/>
                </a:lnTo>
                <a:lnTo>
                  <a:pt x="450531" y="800418"/>
                </a:lnTo>
                <a:lnTo>
                  <a:pt x="485774" y="800418"/>
                </a:lnTo>
                <a:lnTo>
                  <a:pt x="485774" y="788988"/>
                </a:lnTo>
                <a:close/>
                <a:moveTo>
                  <a:pt x="361949" y="788988"/>
                </a:moveTo>
                <a:lnTo>
                  <a:pt x="388619" y="826135"/>
                </a:lnTo>
                <a:lnTo>
                  <a:pt x="388619" y="846138"/>
                </a:lnTo>
                <a:lnTo>
                  <a:pt x="401954" y="846138"/>
                </a:lnTo>
                <a:lnTo>
                  <a:pt x="401954" y="826135"/>
                </a:lnTo>
                <a:lnTo>
                  <a:pt x="428624" y="788988"/>
                </a:lnTo>
                <a:lnTo>
                  <a:pt x="413384" y="788988"/>
                </a:lnTo>
                <a:lnTo>
                  <a:pt x="396239" y="813753"/>
                </a:lnTo>
                <a:lnTo>
                  <a:pt x="377189" y="788988"/>
                </a:lnTo>
                <a:close/>
                <a:moveTo>
                  <a:pt x="504824" y="788988"/>
                </a:moveTo>
                <a:cubicBezTo>
                  <a:pt x="504824" y="788988"/>
                  <a:pt x="504824" y="788988"/>
                  <a:pt x="504824" y="846138"/>
                </a:cubicBezTo>
                <a:cubicBezTo>
                  <a:pt x="504824" y="846138"/>
                  <a:pt x="504824" y="846138"/>
                  <a:pt x="518159" y="846138"/>
                </a:cubicBezTo>
                <a:cubicBezTo>
                  <a:pt x="518159" y="846138"/>
                  <a:pt x="518159" y="846138"/>
                  <a:pt x="518159" y="824230"/>
                </a:cubicBezTo>
                <a:cubicBezTo>
                  <a:pt x="518159" y="824230"/>
                  <a:pt x="518159" y="824230"/>
                  <a:pt x="528636" y="824230"/>
                </a:cubicBezTo>
                <a:lnTo>
                  <a:pt x="545781" y="846138"/>
                </a:lnTo>
                <a:cubicBezTo>
                  <a:pt x="545781" y="846138"/>
                  <a:pt x="545781" y="846138"/>
                  <a:pt x="561974" y="846138"/>
                </a:cubicBezTo>
                <a:cubicBezTo>
                  <a:pt x="561974" y="846138"/>
                  <a:pt x="561974" y="846138"/>
                  <a:pt x="544829" y="824230"/>
                </a:cubicBezTo>
                <a:cubicBezTo>
                  <a:pt x="552449" y="821373"/>
                  <a:pt x="558164" y="814705"/>
                  <a:pt x="558164" y="807085"/>
                </a:cubicBezTo>
                <a:cubicBezTo>
                  <a:pt x="558164" y="796608"/>
                  <a:pt x="549591" y="788988"/>
                  <a:pt x="540066" y="788988"/>
                </a:cubicBezTo>
                <a:cubicBezTo>
                  <a:pt x="540066" y="788988"/>
                  <a:pt x="540066" y="788988"/>
                  <a:pt x="504824" y="788988"/>
                </a:cubicBezTo>
                <a:close/>
                <a:moveTo>
                  <a:pt x="326707" y="788988"/>
                </a:moveTo>
                <a:lnTo>
                  <a:pt x="300037" y="846137"/>
                </a:lnTo>
                <a:lnTo>
                  <a:pt x="314324" y="846137"/>
                </a:lnTo>
                <a:lnTo>
                  <a:pt x="318134" y="835659"/>
                </a:lnTo>
                <a:lnTo>
                  <a:pt x="347662" y="835659"/>
                </a:lnTo>
                <a:lnTo>
                  <a:pt x="352424" y="846137"/>
                </a:lnTo>
                <a:lnTo>
                  <a:pt x="366712" y="846137"/>
                </a:lnTo>
                <a:lnTo>
                  <a:pt x="339089" y="788988"/>
                </a:lnTo>
                <a:close/>
                <a:moveTo>
                  <a:pt x="238124" y="788987"/>
                </a:moveTo>
                <a:cubicBezTo>
                  <a:pt x="238124" y="788987"/>
                  <a:pt x="238124" y="788987"/>
                  <a:pt x="238124" y="846137"/>
                </a:cubicBezTo>
                <a:cubicBezTo>
                  <a:pt x="238124" y="846137"/>
                  <a:pt x="238124" y="846137"/>
                  <a:pt x="278128" y="846137"/>
                </a:cubicBezTo>
                <a:cubicBezTo>
                  <a:pt x="287654" y="846137"/>
                  <a:pt x="295274" y="838517"/>
                  <a:pt x="295274" y="828992"/>
                </a:cubicBezTo>
                <a:cubicBezTo>
                  <a:pt x="295274" y="824229"/>
                  <a:pt x="293368" y="819467"/>
                  <a:pt x="289559" y="816609"/>
                </a:cubicBezTo>
                <a:cubicBezTo>
                  <a:pt x="292416" y="813752"/>
                  <a:pt x="294321" y="809942"/>
                  <a:pt x="293368" y="806132"/>
                </a:cubicBezTo>
                <a:cubicBezTo>
                  <a:pt x="293368" y="796607"/>
                  <a:pt x="286701" y="788987"/>
                  <a:pt x="277176" y="788987"/>
                </a:cubicBezTo>
                <a:cubicBezTo>
                  <a:pt x="277176" y="788987"/>
                  <a:pt x="277176" y="788987"/>
                  <a:pt x="238124" y="788987"/>
                </a:cubicBezTo>
                <a:close/>
                <a:moveTo>
                  <a:pt x="394334" y="735647"/>
                </a:moveTo>
                <a:lnTo>
                  <a:pt x="403859" y="757554"/>
                </a:lnTo>
                <a:lnTo>
                  <a:pt x="384809" y="757554"/>
                </a:lnTo>
                <a:close/>
                <a:moveTo>
                  <a:pt x="388619" y="722312"/>
                </a:moveTo>
                <a:lnTo>
                  <a:pt x="361949" y="779462"/>
                </a:lnTo>
                <a:lnTo>
                  <a:pt x="376236" y="779462"/>
                </a:lnTo>
                <a:lnTo>
                  <a:pt x="380046" y="768984"/>
                </a:lnTo>
                <a:lnTo>
                  <a:pt x="409574" y="768984"/>
                </a:lnTo>
                <a:lnTo>
                  <a:pt x="414336" y="779462"/>
                </a:lnTo>
                <a:lnTo>
                  <a:pt x="428624" y="779462"/>
                </a:lnTo>
                <a:lnTo>
                  <a:pt x="401001" y="722312"/>
                </a:lnTo>
                <a:close/>
                <a:moveTo>
                  <a:pt x="384810" y="688975"/>
                </a:moveTo>
                <a:cubicBezTo>
                  <a:pt x="384810" y="688975"/>
                  <a:pt x="384810" y="688975"/>
                  <a:pt x="409575" y="688975"/>
                </a:cubicBezTo>
                <a:cubicBezTo>
                  <a:pt x="413385" y="688975"/>
                  <a:pt x="415290" y="691833"/>
                  <a:pt x="415290" y="694690"/>
                </a:cubicBezTo>
                <a:cubicBezTo>
                  <a:pt x="415290" y="697548"/>
                  <a:pt x="412432" y="700405"/>
                  <a:pt x="409575" y="700405"/>
                </a:cubicBezTo>
                <a:cubicBezTo>
                  <a:pt x="409575" y="700405"/>
                  <a:pt x="409575" y="700405"/>
                  <a:pt x="384810" y="700405"/>
                </a:cubicBezTo>
                <a:close/>
                <a:moveTo>
                  <a:pt x="384810" y="668020"/>
                </a:moveTo>
                <a:cubicBezTo>
                  <a:pt x="384810" y="668020"/>
                  <a:pt x="384810" y="668020"/>
                  <a:pt x="408622" y="668020"/>
                </a:cubicBezTo>
                <a:cubicBezTo>
                  <a:pt x="411480" y="668020"/>
                  <a:pt x="413385" y="669925"/>
                  <a:pt x="413385" y="672783"/>
                </a:cubicBezTo>
                <a:cubicBezTo>
                  <a:pt x="413385" y="675640"/>
                  <a:pt x="411480" y="677545"/>
                  <a:pt x="408622" y="677545"/>
                </a:cubicBezTo>
                <a:cubicBezTo>
                  <a:pt x="408622" y="677545"/>
                  <a:pt x="408622" y="677545"/>
                  <a:pt x="384810" y="677545"/>
                </a:cubicBezTo>
                <a:close/>
                <a:moveTo>
                  <a:pt x="371475" y="655638"/>
                </a:moveTo>
                <a:cubicBezTo>
                  <a:pt x="371475" y="655638"/>
                  <a:pt x="371475" y="655638"/>
                  <a:pt x="371475" y="712788"/>
                </a:cubicBezTo>
                <a:cubicBezTo>
                  <a:pt x="371475" y="712788"/>
                  <a:pt x="371475" y="712788"/>
                  <a:pt x="411480" y="712788"/>
                </a:cubicBezTo>
                <a:cubicBezTo>
                  <a:pt x="421005" y="712788"/>
                  <a:pt x="428625" y="705168"/>
                  <a:pt x="428625" y="695643"/>
                </a:cubicBezTo>
                <a:cubicBezTo>
                  <a:pt x="428625" y="690880"/>
                  <a:pt x="426720" y="686118"/>
                  <a:pt x="423862" y="683260"/>
                </a:cubicBezTo>
                <a:cubicBezTo>
                  <a:pt x="425767" y="680403"/>
                  <a:pt x="427672" y="676593"/>
                  <a:pt x="426720" y="672783"/>
                </a:cubicBezTo>
                <a:cubicBezTo>
                  <a:pt x="426720" y="663258"/>
                  <a:pt x="420052" y="655638"/>
                  <a:pt x="410527" y="655638"/>
                </a:cubicBezTo>
                <a:cubicBezTo>
                  <a:pt x="410527" y="655638"/>
                  <a:pt x="410527" y="655638"/>
                  <a:pt x="371475" y="655638"/>
                </a:cubicBezTo>
                <a:close/>
                <a:moveTo>
                  <a:pt x="395906" y="642093"/>
                </a:moveTo>
                <a:cubicBezTo>
                  <a:pt x="461671" y="642093"/>
                  <a:pt x="520052" y="674015"/>
                  <a:pt x="556451" y="723125"/>
                </a:cubicBezTo>
                <a:cubicBezTo>
                  <a:pt x="566299" y="736543"/>
                  <a:pt x="574563" y="751232"/>
                  <a:pt x="580894" y="766886"/>
                </a:cubicBezTo>
                <a:lnTo>
                  <a:pt x="580897" y="766897"/>
                </a:lnTo>
                <a:lnTo>
                  <a:pt x="556803" y="723932"/>
                </a:lnTo>
                <a:cubicBezTo>
                  <a:pt x="520403" y="674845"/>
                  <a:pt x="462023" y="642938"/>
                  <a:pt x="396257" y="642938"/>
                </a:cubicBezTo>
                <a:cubicBezTo>
                  <a:pt x="488399" y="642938"/>
                  <a:pt x="564188" y="714465"/>
                  <a:pt x="570519" y="804925"/>
                </a:cubicBezTo>
                <a:cubicBezTo>
                  <a:pt x="570695" y="808958"/>
                  <a:pt x="570870" y="812990"/>
                  <a:pt x="570870" y="817197"/>
                </a:cubicBezTo>
                <a:cubicBezTo>
                  <a:pt x="570870" y="821229"/>
                  <a:pt x="570695" y="825437"/>
                  <a:pt x="570519" y="829469"/>
                </a:cubicBezTo>
                <a:cubicBezTo>
                  <a:pt x="564188" y="919754"/>
                  <a:pt x="488399" y="991281"/>
                  <a:pt x="396257" y="991281"/>
                </a:cubicBezTo>
                <a:cubicBezTo>
                  <a:pt x="330316" y="991281"/>
                  <a:pt x="271935" y="959550"/>
                  <a:pt x="235711" y="910463"/>
                </a:cubicBezTo>
                <a:cubicBezTo>
                  <a:pt x="225776" y="897051"/>
                  <a:pt x="217512" y="882369"/>
                  <a:pt x="211203" y="866701"/>
                </a:cubicBezTo>
                <a:lnTo>
                  <a:pt x="211136" y="866439"/>
                </a:lnTo>
                <a:lnTo>
                  <a:pt x="235360" y="909744"/>
                </a:lnTo>
                <a:cubicBezTo>
                  <a:pt x="271760" y="958854"/>
                  <a:pt x="329964" y="990600"/>
                  <a:pt x="395906" y="990600"/>
                </a:cubicBezTo>
                <a:cubicBezTo>
                  <a:pt x="303763" y="990600"/>
                  <a:pt x="227974" y="919039"/>
                  <a:pt x="221644" y="828712"/>
                </a:cubicBezTo>
                <a:cubicBezTo>
                  <a:pt x="221292" y="824678"/>
                  <a:pt x="221292" y="820468"/>
                  <a:pt x="221292" y="816434"/>
                </a:cubicBezTo>
                <a:cubicBezTo>
                  <a:pt x="221292" y="812225"/>
                  <a:pt x="221292" y="808191"/>
                  <a:pt x="221644" y="804157"/>
                </a:cubicBezTo>
                <a:cubicBezTo>
                  <a:pt x="227974" y="713654"/>
                  <a:pt x="303763" y="642093"/>
                  <a:pt x="395906" y="642093"/>
                </a:cubicBezTo>
                <a:close/>
                <a:moveTo>
                  <a:pt x="395906" y="617538"/>
                </a:moveTo>
                <a:cubicBezTo>
                  <a:pt x="289872" y="617538"/>
                  <a:pt x="203356" y="699973"/>
                  <a:pt x="196850" y="804157"/>
                </a:cubicBezTo>
                <a:lnTo>
                  <a:pt x="197141" y="807054"/>
                </a:lnTo>
                <a:lnTo>
                  <a:pt x="196850" y="817197"/>
                </a:lnTo>
                <a:cubicBezTo>
                  <a:pt x="196850" y="821229"/>
                  <a:pt x="197026" y="825437"/>
                  <a:pt x="197202" y="829469"/>
                </a:cubicBezTo>
                <a:cubicBezTo>
                  <a:pt x="203708" y="933604"/>
                  <a:pt x="290223" y="1016000"/>
                  <a:pt x="396257" y="1016000"/>
                </a:cubicBezTo>
                <a:cubicBezTo>
                  <a:pt x="502291" y="1016000"/>
                  <a:pt x="588806" y="933604"/>
                  <a:pt x="595313" y="829469"/>
                </a:cubicBezTo>
                <a:lnTo>
                  <a:pt x="595023" y="826543"/>
                </a:lnTo>
                <a:lnTo>
                  <a:pt x="595313" y="816434"/>
                </a:lnTo>
                <a:cubicBezTo>
                  <a:pt x="595313" y="812225"/>
                  <a:pt x="595137" y="808191"/>
                  <a:pt x="594961" y="804157"/>
                </a:cubicBezTo>
                <a:cubicBezTo>
                  <a:pt x="588455" y="699973"/>
                  <a:pt x="501940" y="617538"/>
                  <a:pt x="395906" y="617538"/>
                </a:cubicBezTo>
                <a:close/>
                <a:moveTo>
                  <a:pt x="6285641" y="0"/>
                </a:moveTo>
                <a:lnTo>
                  <a:pt x="12190411" y="0"/>
                </a:lnTo>
                <a:lnTo>
                  <a:pt x="12190411" y="6005393"/>
                </a:lnTo>
                <a:lnTo>
                  <a:pt x="9456588" y="6488000"/>
                </a:lnTo>
                <a:lnTo>
                  <a:pt x="9456594" y="6487971"/>
                </a:lnTo>
                <a:lnTo>
                  <a:pt x="7360503" y="6857999"/>
                </a:lnTo>
                <a:lnTo>
                  <a:pt x="3780054" y="6857999"/>
                </a:lnTo>
                <a:close/>
                <a:moveTo>
                  <a:pt x="0" y="0"/>
                </a:moveTo>
                <a:lnTo>
                  <a:pt x="6266477" y="0"/>
                </a:lnTo>
                <a:lnTo>
                  <a:pt x="3760890" y="6857999"/>
                </a:lnTo>
                <a:lnTo>
                  <a:pt x="0" y="6857999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5210FDF1-DD8C-4684-A7DF-EF19318056A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2" y="-7142"/>
            <a:ext cx="4543369" cy="5157787"/>
          </a:xfrm>
          <a:custGeom>
            <a:avLst/>
            <a:gdLst>
              <a:gd name="connsiteX0" fmla="*/ 5798642 w 6057037"/>
              <a:gd name="connsiteY0" fmla="*/ 1332612 h 6877049"/>
              <a:gd name="connsiteX1" fmla="*/ 4723899 w 6057037"/>
              <a:gd name="connsiteY1" fmla="*/ 6875332 h 6877049"/>
              <a:gd name="connsiteX2" fmla="*/ 4723899 w 6057037"/>
              <a:gd name="connsiteY2" fmla="*/ 6877049 h 6877049"/>
              <a:gd name="connsiteX3" fmla="*/ 3772669 w 6057037"/>
              <a:gd name="connsiteY3" fmla="*/ 6877049 h 6877049"/>
              <a:gd name="connsiteX4" fmla="*/ 384809 w 6057037"/>
              <a:gd name="connsiteY4" fmla="*/ 944244 h 6877049"/>
              <a:gd name="connsiteX5" fmla="*/ 405764 w 6057037"/>
              <a:gd name="connsiteY5" fmla="*/ 944244 h 6877049"/>
              <a:gd name="connsiteX6" fmla="*/ 410526 w 6057037"/>
              <a:gd name="connsiteY6" fmla="*/ 949959 h 6877049"/>
              <a:gd name="connsiteX7" fmla="*/ 405764 w 6057037"/>
              <a:gd name="connsiteY7" fmla="*/ 954722 h 6877049"/>
              <a:gd name="connsiteX8" fmla="*/ 384809 w 6057037"/>
              <a:gd name="connsiteY8" fmla="*/ 954722 h 6877049"/>
              <a:gd name="connsiteX9" fmla="*/ 384809 w 6057037"/>
              <a:gd name="connsiteY9" fmla="*/ 944244 h 6877049"/>
              <a:gd name="connsiteX10" fmla="*/ 371474 w 6057037"/>
              <a:gd name="connsiteY10" fmla="*/ 931862 h 6877049"/>
              <a:gd name="connsiteX11" fmla="*/ 371474 w 6057037"/>
              <a:gd name="connsiteY11" fmla="*/ 989012 h 6877049"/>
              <a:gd name="connsiteX12" fmla="*/ 383856 w 6057037"/>
              <a:gd name="connsiteY12" fmla="*/ 989012 h 6877049"/>
              <a:gd name="connsiteX13" fmla="*/ 383856 w 6057037"/>
              <a:gd name="connsiteY13" fmla="*/ 967104 h 6877049"/>
              <a:gd name="connsiteX14" fmla="*/ 398144 w 6057037"/>
              <a:gd name="connsiteY14" fmla="*/ 967104 h 6877049"/>
              <a:gd name="connsiteX15" fmla="*/ 413384 w 6057037"/>
              <a:gd name="connsiteY15" fmla="*/ 989012 h 6877049"/>
              <a:gd name="connsiteX16" fmla="*/ 428624 w 6057037"/>
              <a:gd name="connsiteY16" fmla="*/ 989012 h 6877049"/>
              <a:gd name="connsiteX17" fmla="*/ 412431 w 6057037"/>
              <a:gd name="connsiteY17" fmla="*/ 966152 h 6877049"/>
              <a:gd name="connsiteX18" fmla="*/ 422909 w 6057037"/>
              <a:gd name="connsiteY18" fmla="*/ 949959 h 6877049"/>
              <a:gd name="connsiteX19" fmla="*/ 406716 w 6057037"/>
              <a:gd name="connsiteY19" fmla="*/ 931862 h 6877049"/>
              <a:gd name="connsiteX20" fmla="*/ 371474 w 6057037"/>
              <a:gd name="connsiteY20" fmla="*/ 931862 h 6877049"/>
              <a:gd name="connsiteX21" fmla="*/ 371474 w 6057037"/>
              <a:gd name="connsiteY21" fmla="*/ 865187 h 6877049"/>
              <a:gd name="connsiteX22" fmla="*/ 371474 w 6057037"/>
              <a:gd name="connsiteY22" fmla="*/ 922337 h 6877049"/>
              <a:gd name="connsiteX23" fmla="*/ 419099 w 6057037"/>
              <a:gd name="connsiteY23" fmla="*/ 922337 h 6877049"/>
              <a:gd name="connsiteX24" fmla="*/ 419099 w 6057037"/>
              <a:gd name="connsiteY24" fmla="*/ 910907 h 6877049"/>
              <a:gd name="connsiteX25" fmla="*/ 383856 w 6057037"/>
              <a:gd name="connsiteY25" fmla="*/ 910907 h 6877049"/>
              <a:gd name="connsiteX26" fmla="*/ 383856 w 6057037"/>
              <a:gd name="connsiteY26" fmla="*/ 898524 h 6877049"/>
              <a:gd name="connsiteX27" fmla="*/ 417194 w 6057037"/>
              <a:gd name="connsiteY27" fmla="*/ 898524 h 6877049"/>
              <a:gd name="connsiteX28" fmla="*/ 417194 w 6057037"/>
              <a:gd name="connsiteY28" fmla="*/ 887094 h 6877049"/>
              <a:gd name="connsiteX29" fmla="*/ 383856 w 6057037"/>
              <a:gd name="connsiteY29" fmla="*/ 887094 h 6877049"/>
              <a:gd name="connsiteX30" fmla="*/ 383856 w 6057037"/>
              <a:gd name="connsiteY30" fmla="*/ 876617 h 6877049"/>
              <a:gd name="connsiteX31" fmla="*/ 419099 w 6057037"/>
              <a:gd name="connsiteY31" fmla="*/ 876617 h 6877049"/>
              <a:gd name="connsiteX32" fmla="*/ 419099 w 6057037"/>
              <a:gd name="connsiteY32" fmla="*/ 865187 h 6877049"/>
              <a:gd name="connsiteX33" fmla="*/ 251459 w 6057037"/>
              <a:gd name="connsiteY33" fmla="*/ 831849 h 6877049"/>
              <a:gd name="connsiteX34" fmla="*/ 276224 w 6057037"/>
              <a:gd name="connsiteY34" fmla="*/ 831849 h 6877049"/>
              <a:gd name="connsiteX35" fmla="*/ 281939 w 6057037"/>
              <a:gd name="connsiteY35" fmla="*/ 837564 h 6877049"/>
              <a:gd name="connsiteX36" fmla="*/ 276224 w 6057037"/>
              <a:gd name="connsiteY36" fmla="*/ 843279 h 6877049"/>
              <a:gd name="connsiteX37" fmla="*/ 251459 w 6057037"/>
              <a:gd name="connsiteY37" fmla="*/ 843279 h 6877049"/>
              <a:gd name="connsiteX38" fmla="*/ 332422 w 6057037"/>
              <a:gd name="connsiteY38" fmla="*/ 811847 h 6877049"/>
              <a:gd name="connsiteX39" fmla="*/ 341947 w 6057037"/>
              <a:gd name="connsiteY39" fmla="*/ 833755 h 6877049"/>
              <a:gd name="connsiteX40" fmla="*/ 322897 w 6057037"/>
              <a:gd name="connsiteY40" fmla="*/ 833755 h 6877049"/>
              <a:gd name="connsiteX41" fmla="*/ 518160 w 6057037"/>
              <a:gd name="connsiteY41" fmla="*/ 810895 h 6877049"/>
              <a:gd name="connsiteX42" fmla="*/ 538161 w 6057037"/>
              <a:gd name="connsiteY42" fmla="*/ 810895 h 6877049"/>
              <a:gd name="connsiteX43" fmla="*/ 543877 w 6057037"/>
              <a:gd name="connsiteY43" fmla="*/ 815658 h 6877049"/>
              <a:gd name="connsiteX44" fmla="*/ 538161 w 6057037"/>
              <a:gd name="connsiteY44" fmla="*/ 821373 h 6877049"/>
              <a:gd name="connsiteX45" fmla="*/ 518160 w 6057037"/>
              <a:gd name="connsiteY45" fmla="*/ 821373 h 6877049"/>
              <a:gd name="connsiteX46" fmla="*/ 518160 w 6057037"/>
              <a:gd name="connsiteY46" fmla="*/ 810895 h 6877049"/>
              <a:gd name="connsiteX47" fmla="*/ 251459 w 6057037"/>
              <a:gd name="connsiteY47" fmla="*/ 810894 h 6877049"/>
              <a:gd name="connsiteX48" fmla="*/ 275271 w 6057037"/>
              <a:gd name="connsiteY48" fmla="*/ 810894 h 6877049"/>
              <a:gd name="connsiteX49" fmla="*/ 280034 w 6057037"/>
              <a:gd name="connsiteY49" fmla="*/ 815657 h 6877049"/>
              <a:gd name="connsiteX50" fmla="*/ 275271 w 6057037"/>
              <a:gd name="connsiteY50" fmla="*/ 820419 h 6877049"/>
              <a:gd name="connsiteX51" fmla="*/ 251459 w 6057037"/>
              <a:gd name="connsiteY51" fmla="*/ 820419 h 6877049"/>
              <a:gd name="connsiteX52" fmla="*/ 361950 w 6057037"/>
              <a:gd name="connsiteY52" fmla="*/ 798513 h 6877049"/>
              <a:gd name="connsiteX53" fmla="*/ 388620 w 6057037"/>
              <a:gd name="connsiteY53" fmla="*/ 835660 h 6877049"/>
              <a:gd name="connsiteX54" fmla="*/ 388620 w 6057037"/>
              <a:gd name="connsiteY54" fmla="*/ 855663 h 6877049"/>
              <a:gd name="connsiteX55" fmla="*/ 401955 w 6057037"/>
              <a:gd name="connsiteY55" fmla="*/ 855663 h 6877049"/>
              <a:gd name="connsiteX56" fmla="*/ 401955 w 6057037"/>
              <a:gd name="connsiteY56" fmla="*/ 835660 h 6877049"/>
              <a:gd name="connsiteX57" fmla="*/ 428625 w 6057037"/>
              <a:gd name="connsiteY57" fmla="*/ 798513 h 6877049"/>
              <a:gd name="connsiteX58" fmla="*/ 413385 w 6057037"/>
              <a:gd name="connsiteY58" fmla="*/ 798513 h 6877049"/>
              <a:gd name="connsiteX59" fmla="*/ 396240 w 6057037"/>
              <a:gd name="connsiteY59" fmla="*/ 823278 h 6877049"/>
              <a:gd name="connsiteX60" fmla="*/ 377190 w 6057037"/>
              <a:gd name="connsiteY60" fmla="*/ 798513 h 6877049"/>
              <a:gd name="connsiteX61" fmla="*/ 438150 w 6057037"/>
              <a:gd name="connsiteY61" fmla="*/ 798513 h 6877049"/>
              <a:gd name="connsiteX62" fmla="*/ 438150 w 6057037"/>
              <a:gd name="connsiteY62" fmla="*/ 855663 h 6877049"/>
              <a:gd name="connsiteX63" fmla="*/ 485775 w 6057037"/>
              <a:gd name="connsiteY63" fmla="*/ 855663 h 6877049"/>
              <a:gd name="connsiteX64" fmla="*/ 485775 w 6057037"/>
              <a:gd name="connsiteY64" fmla="*/ 844233 h 6877049"/>
              <a:gd name="connsiteX65" fmla="*/ 450532 w 6057037"/>
              <a:gd name="connsiteY65" fmla="*/ 844233 h 6877049"/>
              <a:gd name="connsiteX66" fmla="*/ 450532 w 6057037"/>
              <a:gd name="connsiteY66" fmla="*/ 831850 h 6877049"/>
              <a:gd name="connsiteX67" fmla="*/ 485775 w 6057037"/>
              <a:gd name="connsiteY67" fmla="*/ 831850 h 6877049"/>
              <a:gd name="connsiteX68" fmla="*/ 485775 w 6057037"/>
              <a:gd name="connsiteY68" fmla="*/ 820420 h 6877049"/>
              <a:gd name="connsiteX69" fmla="*/ 450532 w 6057037"/>
              <a:gd name="connsiteY69" fmla="*/ 820420 h 6877049"/>
              <a:gd name="connsiteX70" fmla="*/ 450532 w 6057037"/>
              <a:gd name="connsiteY70" fmla="*/ 809943 h 6877049"/>
              <a:gd name="connsiteX71" fmla="*/ 485775 w 6057037"/>
              <a:gd name="connsiteY71" fmla="*/ 809943 h 6877049"/>
              <a:gd name="connsiteX72" fmla="*/ 485775 w 6057037"/>
              <a:gd name="connsiteY72" fmla="*/ 798513 h 6877049"/>
              <a:gd name="connsiteX73" fmla="*/ 504825 w 6057037"/>
              <a:gd name="connsiteY73" fmla="*/ 798513 h 6877049"/>
              <a:gd name="connsiteX74" fmla="*/ 504825 w 6057037"/>
              <a:gd name="connsiteY74" fmla="*/ 855663 h 6877049"/>
              <a:gd name="connsiteX75" fmla="*/ 518160 w 6057037"/>
              <a:gd name="connsiteY75" fmla="*/ 855663 h 6877049"/>
              <a:gd name="connsiteX76" fmla="*/ 518160 w 6057037"/>
              <a:gd name="connsiteY76" fmla="*/ 833755 h 6877049"/>
              <a:gd name="connsiteX77" fmla="*/ 528637 w 6057037"/>
              <a:gd name="connsiteY77" fmla="*/ 833755 h 6877049"/>
              <a:gd name="connsiteX78" fmla="*/ 545782 w 6057037"/>
              <a:gd name="connsiteY78" fmla="*/ 855663 h 6877049"/>
              <a:gd name="connsiteX79" fmla="*/ 561975 w 6057037"/>
              <a:gd name="connsiteY79" fmla="*/ 855663 h 6877049"/>
              <a:gd name="connsiteX80" fmla="*/ 544829 w 6057037"/>
              <a:gd name="connsiteY80" fmla="*/ 833755 h 6877049"/>
              <a:gd name="connsiteX81" fmla="*/ 558164 w 6057037"/>
              <a:gd name="connsiteY81" fmla="*/ 816610 h 6877049"/>
              <a:gd name="connsiteX82" fmla="*/ 540067 w 6057037"/>
              <a:gd name="connsiteY82" fmla="*/ 798513 h 6877049"/>
              <a:gd name="connsiteX83" fmla="*/ 504825 w 6057037"/>
              <a:gd name="connsiteY83" fmla="*/ 798513 h 6877049"/>
              <a:gd name="connsiteX84" fmla="*/ 326707 w 6057037"/>
              <a:gd name="connsiteY84" fmla="*/ 798512 h 6877049"/>
              <a:gd name="connsiteX85" fmla="*/ 300037 w 6057037"/>
              <a:gd name="connsiteY85" fmla="*/ 855662 h 6877049"/>
              <a:gd name="connsiteX86" fmla="*/ 314324 w 6057037"/>
              <a:gd name="connsiteY86" fmla="*/ 855662 h 6877049"/>
              <a:gd name="connsiteX87" fmla="*/ 318134 w 6057037"/>
              <a:gd name="connsiteY87" fmla="*/ 845184 h 6877049"/>
              <a:gd name="connsiteX88" fmla="*/ 347662 w 6057037"/>
              <a:gd name="connsiteY88" fmla="*/ 845184 h 6877049"/>
              <a:gd name="connsiteX89" fmla="*/ 352424 w 6057037"/>
              <a:gd name="connsiteY89" fmla="*/ 855662 h 6877049"/>
              <a:gd name="connsiteX90" fmla="*/ 366712 w 6057037"/>
              <a:gd name="connsiteY90" fmla="*/ 855662 h 6877049"/>
              <a:gd name="connsiteX91" fmla="*/ 339089 w 6057037"/>
              <a:gd name="connsiteY91" fmla="*/ 798512 h 6877049"/>
              <a:gd name="connsiteX92" fmla="*/ 238124 w 6057037"/>
              <a:gd name="connsiteY92" fmla="*/ 798512 h 6877049"/>
              <a:gd name="connsiteX93" fmla="*/ 238124 w 6057037"/>
              <a:gd name="connsiteY93" fmla="*/ 855662 h 6877049"/>
              <a:gd name="connsiteX94" fmla="*/ 278129 w 6057037"/>
              <a:gd name="connsiteY94" fmla="*/ 855662 h 6877049"/>
              <a:gd name="connsiteX95" fmla="*/ 295274 w 6057037"/>
              <a:gd name="connsiteY95" fmla="*/ 838517 h 6877049"/>
              <a:gd name="connsiteX96" fmla="*/ 289559 w 6057037"/>
              <a:gd name="connsiteY96" fmla="*/ 826134 h 6877049"/>
              <a:gd name="connsiteX97" fmla="*/ 293369 w 6057037"/>
              <a:gd name="connsiteY97" fmla="*/ 815657 h 6877049"/>
              <a:gd name="connsiteX98" fmla="*/ 277176 w 6057037"/>
              <a:gd name="connsiteY98" fmla="*/ 798512 h 6877049"/>
              <a:gd name="connsiteX99" fmla="*/ 238124 w 6057037"/>
              <a:gd name="connsiteY99" fmla="*/ 798512 h 6877049"/>
              <a:gd name="connsiteX100" fmla="*/ 394334 w 6057037"/>
              <a:gd name="connsiteY100" fmla="*/ 745172 h 6877049"/>
              <a:gd name="connsiteX101" fmla="*/ 403859 w 6057037"/>
              <a:gd name="connsiteY101" fmla="*/ 767079 h 6877049"/>
              <a:gd name="connsiteX102" fmla="*/ 384809 w 6057037"/>
              <a:gd name="connsiteY102" fmla="*/ 767079 h 6877049"/>
              <a:gd name="connsiteX103" fmla="*/ 388619 w 6057037"/>
              <a:gd name="connsiteY103" fmla="*/ 731837 h 6877049"/>
              <a:gd name="connsiteX104" fmla="*/ 361949 w 6057037"/>
              <a:gd name="connsiteY104" fmla="*/ 788987 h 6877049"/>
              <a:gd name="connsiteX105" fmla="*/ 376236 w 6057037"/>
              <a:gd name="connsiteY105" fmla="*/ 788987 h 6877049"/>
              <a:gd name="connsiteX106" fmla="*/ 380046 w 6057037"/>
              <a:gd name="connsiteY106" fmla="*/ 778509 h 6877049"/>
              <a:gd name="connsiteX107" fmla="*/ 409574 w 6057037"/>
              <a:gd name="connsiteY107" fmla="*/ 778509 h 6877049"/>
              <a:gd name="connsiteX108" fmla="*/ 414336 w 6057037"/>
              <a:gd name="connsiteY108" fmla="*/ 788987 h 6877049"/>
              <a:gd name="connsiteX109" fmla="*/ 428624 w 6057037"/>
              <a:gd name="connsiteY109" fmla="*/ 788987 h 6877049"/>
              <a:gd name="connsiteX110" fmla="*/ 401001 w 6057037"/>
              <a:gd name="connsiteY110" fmla="*/ 731837 h 6877049"/>
              <a:gd name="connsiteX111" fmla="*/ 384810 w 6057037"/>
              <a:gd name="connsiteY111" fmla="*/ 698500 h 6877049"/>
              <a:gd name="connsiteX112" fmla="*/ 409575 w 6057037"/>
              <a:gd name="connsiteY112" fmla="*/ 698500 h 6877049"/>
              <a:gd name="connsiteX113" fmla="*/ 415290 w 6057037"/>
              <a:gd name="connsiteY113" fmla="*/ 704215 h 6877049"/>
              <a:gd name="connsiteX114" fmla="*/ 409575 w 6057037"/>
              <a:gd name="connsiteY114" fmla="*/ 709930 h 6877049"/>
              <a:gd name="connsiteX115" fmla="*/ 384810 w 6057037"/>
              <a:gd name="connsiteY115" fmla="*/ 709930 h 6877049"/>
              <a:gd name="connsiteX116" fmla="*/ 384810 w 6057037"/>
              <a:gd name="connsiteY116" fmla="*/ 677545 h 6877049"/>
              <a:gd name="connsiteX117" fmla="*/ 408622 w 6057037"/>
              <a:gd name="connsiteY117" fmla="*/ 677545 h 6877049"/>
              <a:gd name="connsiteX118" fmla="*/ 413385 w 6057037"/>
              <a:gd name="connsiteY118" fmla="*/ 682308 h 6877049"/>
              <a:gd name="connsiteX119" fmla="*/ 408622 w 6057037"/>
              <a:gd name="connsiteY119" fmla="*/ 687070 h 6877049"/>
              <a:gd name="connsiteX120" fmla="*/ 384810 w 6057037"/>
              <a:gd name="connsiteY120" fmla="*/ 687070 h 6877049"/>
              <a:gd name="connsiteX121" fmla="*/ 371475 w 6057037"/>
              <a:gd name="connsiteY121" fmla="*/ 665163 h 6877049"/>
              <a:gd name="connsiteX122" fmla="*/ 371475 w 6057037"/>
              <a:gd name="connsiteY122" fmla="*/ 722313 h 6877049"/>
              <a:gd name="connsiteX123" fmla="*/ 411480 w 6057037"/>
              <a:gd name="connsiteY123" fmla="*/ 722313 h 6877049"/>
              <a:gd name="connsiteX124" fmla="*/ 428625 w 6057037"/>
              <a:gd name="connsiteY124" fmla="*/ 705168 h 6877049"/>
              <a:gd name="connsiteX125" fmla="*/ 423862 w 6057037"/>
              <a:gd name="connsiteY125" fmla="*/ 692785 h 6877049"/>
              <a:gd name="connsiteX126" fmla="*/ 426720 w 6057037"/>
              <a:gd name="connsiteY126" fmla="*/ 682308 h 6877049"/>
              <a:gd name="connsiteX127" fmla="*/ 410527 w 6057037"/>
              <a:gd name="connsiteY127" fmla="*/ 665163 h 6877049"/>
              <a:gd name="connsiteX128" fmla="*/ 371475 w 6057037"/>
              <a:gd name="connsiteY128" fmla="*/ 665163 h 6877049"/>
              <a:gd name="connsiteX129" fmla="*/ 395906 w 6057037"/>
              <a:gd name="connsiteY129" fmla="*/ 651618 h 6877049"/>
              <a:gd name="connsiteX130" fmla="*/ 556451 w 6057037"/>
              <a:gd name="connsiteY130" fmla="*/ 732650 h 6877049"/>
              <a:gd name="connsiteX131" fmla="*/ 580894 w 6057037"/>
              <a:gd name="connsiteY131" fmla="*/ 776411 h 6877049"/>
              <a:gd name="connsiteX132" fmla="*/ 580897 w 6057037"/>
              <a:gd name="connsiteY132" fmla="*/ 776421 h 6877049"/>
              <a:gd name="connsiteX133" fmla="*/ 556803 w 6057037"/>
              <a:gd name="connsiteY133" fmla="*/ 733457 h 6877049"/>
              <a:gd name="connsiteX134" fmla="*/ 396257 w 6057037"/>
              <a:gd name="connsiteY134" fmla="*/ 652463 h 6877049"/>
              <a:gd name="connsiteX135" fmla="*/ 570519 w 6057037"/>
              <a:gd name="connsiteY135" fmla="*/ 814450 h 6877049"/>
              <a:gd name="connsiteX136" fmla="*/ 570870 w 6057037"/>
              <a:gd name="connsiteY136" fmla="*/ 826722 h 6877049"/>
              <a:gd name="connsiteX137" fmla="*/ 570519 w 6057037"/>
              <a:gd name="connsiteY137" fmla="*/ 838994 h 6877049"/>
              <a:gd name="connsiteX138" fmla="*/ 396257 w 6057037"/>
              <a:gd name="connsiteY138" fmla="*/ 1000806 h 6877049"/>
              <a:gd name="connsiteX139" fmla="*/ 235711 w 6057037"/>
              <a:gd name="connsiteY139" fmla="*/ 919988 h 6877049"/>
              <a:gd name="connsiteX140" fmla="*/ 211203 w 6057037"/>
              <a:gd name="connsiteY140" fmla="*/ 876226 h 6877049"/>
              <a:gd name="connsiteX141" fmla="*/ 211136 w 6057037"/>
              <a:gd name="connsiteY141" fmla="*/ 875964 h 6877049"/>
              <a:gd name="connsiteX142" fmla="*/ 235360 w 6057037"/>
              <a:gd name="connsiteY142" fmla="*/ 919269 h 6877049"/>
              <a:gd name="connsiteX143" fmla="*/ 395906 w 6057037"/>
              <a:gd name="connsiteY143" fmla="*/ 1000125 h 6877049"/>
              <a:gd name="connsiteX144" fmla="*/ 221644 w 6057037"/>
              <a:gd name="connsiteY144" fmla="*/ 838237 h 6877049"/>
              <a:gd name="connsiteX145" fmla="*/ 221292 w 6057037"/>
              <a:gd name="connsiteY145" fmla="*/ 825959 h 6877049"/>
              <a:gd name="connsiteX146" fmla="*/ 221644 w 6057037"/>
              <a:gd name="connsiteY146" fmla="*/ 813682 h 6877049"/>
              <a:gd name="connsiteX147" fmla="*/ 395906 w 6057037"/>
              <a:gd name="connsiteY147" fmla="*/ 651618 h 6877049"/>
              <a:gd name="connsiteX148" fmla="*/ 395906 w 6057037"/>
              <a:gd name="connsiteY148" fmla="*/ 627063 h 6877049"/>
              <a:gd name="connsiteX149" fmla="*/ 196850 w 6057037"/>
              <a:gd name="connsiteY149" fmla="*/ 813682 h 6877049"/>
              <a:gd name="connsiteX150" fmla="*/ 197141 w 6057037"/>
              <a:gd name="connsiteY150" fmla="*/ 816580 h 6877049"/>
              <a:gd name="connsiteX151" fmla="*/ 196850 w 6057037"/>
              <a:gd name="connsiteY151" fmla="*/ 826722 h 6877049"/>
              <a:gd name="connsiteX152" fmla="*/ 197202 w 6057037"/>
              <a:gd name="connsiteY152" fmla="*/ 838994 h 6877049"/>
              <a:gd name="connsiteX153" fmla="*/ 396257 w 6057037"/>
              <a:gd name="connsiteY153" fmla="*/ 1025525 h 6877049"/>
              <a:gd name="connsiteX154" fmla="*/ 595313 w 6057037"/>
              <a:gd name="connsiteY154" fmla="*/ 838994 h 6877049"/>
              <a:gd name="connsiteX155" fmla="*/ 595023 w 6057037"/>
              <a:gd name="connsiteY155" fmla="*/ 836067 h 6877049"/>
              <a:gd name="connsiteX156" fmla="*/ 595313 w 6057037"/>
              <a:gd name="connsiteY156" fmla="*/ 825959 h 6877049"/>
              <a:gd name="connsiteX157" fmla="*/ 594961 w 6057037"/>
              <a:gd name="connsiteY157" fmla="*/ 813682 h 6877049"/>
              <a:gd name="connsiteX158" fmla="*/ 395906 w 6057037"/>
              <a:gd name="connsiteY158" fmla="*/ 627063 h 6877049"/>
              <a:gd name="connsiteX159" fmla="*/ 0 w 6057037"/>
              <a:gd name="connsiteY159" fmla="*/ 0 h 6877049"/>
              <a:gd name="connsiteX160" fmla="*/ 4723899 w 6057037"/>
              <a:gd name="connsiteY160" fmla="*/ 0 h 6877049"/>
              <a:gd name="connsiteX161" fmla="*/ 6057037 w 6057037"/>
              <a:gd name="connsiteY161" fmla="*/ 0 h 6877049"/>
              <a:gd name="connsiteX162" fmla="*/ 5820308 w 6057037"/>
              <a:gd name="connsiteY162" fmla="*/ 1220872 h 6877049"/>
              <a:gd name="connsiteX163" fmla="*/ 3753506 w 6057037"/>
              <a:gd name="connsiteY163" fmla="*/ 6877049 h 6877049"/>
              <a:gd name="connsiteX164" fmla="*/ 0 w 6057037"/>
              <a:gd name="connsiteY164" fmla="*/ 6877049 h 6877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</a:cxnLst>
            <a:rect l="l" t="t" r="r" b="b"/>
            <a:pathLst>
              <a:path w="6057037" h="6877049">
                <a:moveTo>
                  <a:pt x="5798642" y="1332612"/>
                </a:moveTo>
                <a:lnTo>
                  <a:pt x="4723899" y="6875332"/>
                </a:lnTo>
                <a:lnTo>
                  <a:pt x="4723899" y="6877049"/>
                </a:lnTo>
                <a:lnTo>
                  <a:pt x="3772669" y="6877049"/>
                </a:lnTo>
                <a:close/>
                <a:moveTo>
                  <a:pt x="384809" y="944244"/>
                </a:moveTo>
                <a:cubicBezTo>
                  <a:pt x="384809" y="944244"/>
                  <a:pt x="384809" y="944244"/>
                  <a:pt x="405764" y="944244"/>
                </a:cubicBezTo>
                <a:cubicBezTo>
                  <a:pt x="408621" y="944244"/>
                  <a:pt x="410526" y="947102"/>
                  <a:pt x="410526" y="949959"/>
                </a:cubicBezTo>
                <a:cubicBezTo>
                  <a:pt x="410526" y="952817"/>
                  <a:pt x="407669" y="954722"/>
                  <a:pt x="405764" y="954722"/>
                </a:cubicBezTo>
                <a:cubicBezTo>
                  <a:pt x="405764" y="954722"/>
                  <a:pt x="405764" y="954722"/>
                  <a:pt x="384809" y="954722"/>
                </a:cubicBezTo>
                <a:cubicBezTo>
                  <a:pt x="384809" y="954722"/>
                  <a:pt x="384809" y="954722"/>
                  <a:pt x="384809" y="944244"/>
                </a:cubicBezTo>
                <a:close/>
                <a:moveTo>
                  <a:pt x="371474" y="931862"/>
                </a:moveTo>
                <a:cubicBezTo>
                  <a:pt x="371474" y="931862"/>
                  <a:pt x="371474" y="931862"/>
                  <a:pt x="371474" y="989012"/>
                </a:cubicBezTo>
                <a:lnTo>
                  <a:pt x="383856" y="989012"/>
                </a:lnTo>
                <a:cubicBezTo>
                  <a:pt x="383856" y="989012"/>
                  <a:pt x="383856" y="989012"/>
                  <a:pt x="383856" y="967104"/>
                </a:cubicBezTo>
                <a:cubicBezTo>
                  <a:pt x="383856" y="967104"/>
                  <a:pt x="383856" y="967104"/>
                  <a:pt x="398144" y="967104"/>
                </a:cubicBezTo>
                <a:cubicBezTo>
                  <a:pt x="398144" y="967104"/>
                  <a:pt x="398144" y="967104"/>
                  <a:pt x="413384" y="989012"/>
                </a:cubicBezTo>
                <a:cubicBezTo>
                  <a:pt x="413384" y="989012"/>
                  <a:pt x="413384" y="989012"/>
                  <a:pt x="428624" y="989012"/>
                </a:cubicBezTo>
                <a:cubicBezTo>
                  <a:pt x="428624" y="989012"/>
                  <a:pt x="428624" y="989012"/>
                  <a:pt x="412431" y="966152"/>
                </a:cubicBezTo>
                <a:cubicBezTo>
                  <a:pt x="419099" y="964247"/>
                  <a:pt x="422909" y="957579"/>
                  <a:pt x="422909" y="949959"/>
                </a:cubicBezTo>
                <a:cubicBezTo>
                  <a:pt x="422909" y="939482"/>
                  <a:pt x="416241" y="931862"/>
                  <a:pt x="406716" y="931862"/>
                </a:cubicBezTo>
                <a:cubicBezTo>
                  <a:pt x="406716" y="931862"/>
                  <a:pt x="406716" y="931862"/>
                  <a:pt x="371474" y="931862"/>
                </a:cubicBezTo>
                <a:close/>
                <a:moveTo>
                  <a:pt x="371474" y="865187"/>
                </a:moveTo>
                <a:lnTo>
                  <a:pt x="371474" y="922337"/>
                </a:lnTo>
                <a:lnTo>
                  <a:pt x="419099" y="922337"/>
                </a:lnTo>
                <a:lnTo>
                  <a:pt x="419099" y="910907"/>
                </a:lnTo>
                <a:lnTo>
                  <a:pt x="383856" y="910907"/>
                </a:lnTo>
                <a:lnTo>
                  <a:pt x="383856" y="898524"/>
                </a:lnTo>
                <a:lnTo>
                  <a:pt x="417194" y="898524"/>
                </a:lnTo>
                <a:lnTo>
                  <a:pt x="417194" y="887094"/>
                </a:lnTo>
                <a:lnTo>
                  <a:pt x="383856" y="887094"/>
                </a:lnTo>
                <a:lnTo>
                  <a:pt x="383856" y="876617"/>
                </a:lnTo>
                <a:lnTo>
                  <a:pt x="419099" y="876617"/>
                </a:lnTo>
                <a:lnTo>
                  <a:pt x="419099" y="865187"/>
                </a:lnTo>
                <a:close/>
                <a:moveTo>
                  <a:pt x="251459" y="831849"/>
                </a:moveTo>
                <a:cubicBezTo>
                  <a:pt x="251459" y="831849"/>
                  <a:pt x="251459" y="831849"/>
                  <a:pt x="276224" y="831849"/>
                </a:cubicBezTo>
                <a:cubicBezTo>
                  <a:pt x="279081" y="831849"/>
                  <a:pt x="281939" y="834707"/>
                  <a:pt x="281939" y="837564"/>
                </a:cubicBezTo>
                <a:cubicBezTo>
                  <a:pt x="281939" y="840422"/>
                  <a:pt x="279081" y="843279"/>
                  <a:pt x="276224" y="843279"/>
                </a:cubicBezTo>
                <a:cubicBezTo>
                  <a:pt x="276224" y="843279"/>
                  <a:pt x="276224" y="843279"/>
                  <a:pt x="251459" y="843279"/>
                </a:cubicBezTo>
                <a:close/>
                <a:moveTo>
                  <a:pt x="332422" y="811847"/>
                </a:moveTo>
                <a:lnTo>
                  <a:pt x="341947" y="833755"/>
                </a:lnTo>
                <a:lnTo>
                  <a:pt x="322897" y="833755"/>
                </a:lnTo>
                <a:close/>
                <a:moveTo>
                  <a:pt x="518160" y="810895"/>
                </a:moveTo>
                <a:cubicBezTo>
                  <a:pt x="518160" y="810895"/>
                  <a:pt x="518160" y="810895"/>
                  <a:pt x="538161" y="810895"/>
                </a:cubicBezTo>
                <a:cubicBezTo>
                  <a:pt x="541972" y="810895"/>
                  <a:pt x="543877" y="812800"/>
                  <a:pt x="543877" y="815658"/>
                </a:cubicBezTo>
                <a:cubicBezTo>
                  <a:pt x="543877" y="818515"/>
                  <a:pt x="541020" y="821373"/>
                  <a:pt x="538161" y="821373"/>
                </a:cubicBezTo>
                <a:cubicBezTo>
                  <a:pt x="538161" y="821373"/>
                  <a:pt x="538161" y="821373"/>
                  <a:pt x="518160" y="821373"/>
                </a:cubicBezTo>
                <a:cubicBezTo>
                  <a:pt x="518160" y="821373"/>
                  <a:pt x="518160" y="821373"/>
                  <a:pt x="518160" y="810895"/>
                </a:cubicBezTo>
                <a:close/>
                <a:moveTo>
                  <a:pt x="251459" y="810894"/>
                </a:moveTo>
                <a:cubicBezTo>
                  <a:pt x="251459" y="810894"/>
                  <a:pt x="251459" y="810894"/>
                  <a:pt x="275271" y="810894"/>
                </a:cubicBezTo>
                <a:cubicBezTo>
                  <a:pt x="278129" y="810894"/>
                  <a:pt x="280034" y="812799"/>
                  <a:pt x="280034" y="815657"/>
                </a:cubicBezTo>
                <a:cubicBezTo>
                  <a:pt x="280034" y="818514"/>
                  <a:pt x="278129" y="820419"/>
                  <a:pt x="275271" y="820419"/>
                </a:cubicBezTo>
                <a:cubicBezTo>
                  <a:pt x="275271" y="820419"/>
                  <a:pt x="275271" y="820419"/>
                  <a:pt x="251459" y="820419"/>
                </a:cubicBezTo>
                <a:close/>
                <a:moveTo>
                  <a:pt x="361950" y="798513"/>
                </a:moveTo>
                <a:lnTo>
                  <a:pt x="388620" y="835660"/>
                </a:lnTo>
                <a:lnTo>
                  <a:pt x="388620" y="855663"/>
                </a:lnTo>
                <a:lnTo>
                  <a:pt x="401955" y="855663"/>
                </a:lnTo>
                <a:lnTo>
                  <a:pt x="401955" y="835660"/>
                </a:lnTo>
                <a:lnTo>
                  <a:pt x="428625" y="798513"/>
                </a:lnTo>
                <a:lnTo>
                  <a:pt x="413385" y="798513"/>
                </a:lnTo>
                <a:lnTo>
                  <a:pt x="396240" y="823278"/>
                </a:lnTo>
                <a:lnTo>
                  <a:pt x="377190" y="798513"/>
                </a:lnTo>
                <a:close/>
                <a:moveTo>
                  <a:pt x="438150" y="798513"/>
                </a:moveTo>
                <a:lnTo>
                  <a:pt x="438150" y="855663"/>
                </a:lnTo>
                <a:lnTo>
                  <a:pt x="485775" y="855663"/>
                </a:lnTo>
                <a:lnTo>
                  <a:pt x="485775" y="844233"/>
                </a:lnTo>
                <a:lnTo>
                  <a:pt x="450532" y="844233"/>
                </a:lnTo>
                <a:lnTo>
                  <a:pt x="450532" y="831850"/>
                </a:lnTo>
                <a:lnTo>
                  <a:pt x="485775" y="831850"/>
                </a:lnTo>
                <a:lnTo>
                  <a:pt x="485775" y="820420"/>
                </a:lnTo>
                <a:lnTo>
                  <a:pt x="450532" y="820420"/>
                </a:lnTo>
                <a:lnTo>
                  <a:pt x="450532" y="809943"/>
                </a:lnTo>
                <a:lnTo>
                  <a:pt x="485775" y="809943"/>
                </a:lnTo>
                <a:lnTo>
                  <a:pt x="485775" y="798513"/>
                </a:lnTo>
                <a:close/>
                <a:moveTo>
                  <a:pt x="504825" y="798513"/>
                </a:moveTo>
                <a:cubicBezTo>
                  <a:pt x="504825" y="798513"/>
                  <a:pt x="504825" y="798513"/>
                  <a:pt x="504825" y="855663"/>
                </a:cubicBezTo>
                <a:cubicBezTo>
                  <a:pt x="504825" y="855663"/>
                  <a:pt x="504825" y="855663"/>
                  <a:pt x="518160" y="855663"/>
                </a:cubicBezTo>
                <a:cubicBezTo>
                  <a:pt x="518160" y="855663"/>
                  <a:pt x="518160" y="855663"/>
                  <a:pt x="518160" y="833755"/>
                </a:cubicBezTo>
                <a:cubicBezTo>
                  <a:pt x="518160" y="833755"/>
                  <a:pt x="518160" y="833755"/>
                  <a:pt x="528637" y="833755"/>
                </a:cubicBezTo>
                <a:lnTo>
                  <a:pt x="545782" y="855663"/>
                </a:lnTo>
                <a:cubicBezTo>
                  <a:pt x="545782" y="855663"/>
                  <a:pt x="545782" y="855663"/>
                  <a:pt x="561975" y="855663"/>
                </a:cubicBezTo>
                <a:cubicBezTo>
                  <a:pt x="561975" y="855663"/>
                  <a:pt x="561975" y="855663"/>
                  <a:pt x="544829" y="833755"/>
                </a:cubicBezTo>
                <a:cubicBezTo>
                  <a:pt x="552450" y="830898"/>
                  <a:pt x="558164" y="824230"/>
                  <a:pt x="558164" y="816610"/>
                </a:cubicBezTo>
                <a:cubicBezTo>
                  <a:pt x="558164" y="806133"/>
                  <a:pt x="549592" y="798513"/>
                  <a:pt x="540067" y="798513"/>
                </a:cubicBezTo>
                <a:cubicBezTo>
                  <a:pt x="540067" y="798513"/>
                  <a:pt x="540067" y="798513"/>
                  <a:pt x="504825" y="798513"/>
                </a:cubicBezTo>
                <a:close/>
                <a:moveTo>
                  <a:pt x="326707" y="798512"/>
                </a:moveTo>
                <a:lnTo>
                  <a:pt x="300037" y="855662"/>
                </a:lnTo>
                <a:lnTo>
                  <a:pt x="314324" y="855662"/>
                </a:lnTo>
                <a:lnTo>
                  <a:pt x="318134" y="845184"/>
                </a:lnTo>
                <a:lnTo>
                  <a:pt x="347662" y="845184"/>
                </a:lnTo>
                <a:lnTo>
                  <a:pt x="352424" y="855662"/>
                </a:lnTo>
                <a:lnTo>
                  <a:pt x="366712" y="855662"/>
                </a:lnTo>
                <a:lnTo>
                  <a:pt x="339089" y="798512"/>
                </a:lnTo>
                <a:close/>
                <a:moveTo>
                  <a:pt x="238124" y="798512"/>
                </a:moveTo>
                <a:cubicBezTo>
                  <a:pt x="238124" y="798512"/>
                  <a:pt x="238124" y="798512"/>
                  <a:pt x="238124" y="855662"/>
                </a:cubicBezTo>
                <a:cubicBezTo>
                  <a:pt x="238124" y="855662"/>
                  <a:pt x="238124" y="855662"/>
                  <a:pt x="278129" y="855662"/>
                </a:cubicBezTo>
                <a:cubicBezTo>
                  <a:pt x="287654" y="855662"/>
                  <a:pt x="295274" y="848042"/>
                  <a:pt x="295274" y="838517"/>
                </a:cubicBezTo>
                <a:cubicBezTo>
                  <a:pt x="295274" y="833754"/>
                  <a:pt x="293369" y="828992"/>
                  <a:pt x="289559" y="826134"/>
                </a:cubicBezTo>
                <a:cubicBezTo>
                  <a:pt x="292416" y="823277"/>
                  <a:pt x="294321" y="819467"/>
                  <a:pt x="293369" y="815657"/>
                </a:cubicBezTo>
                <a:cubicBezTo>
                  <a:pt x="293369" y="806132"/>
                  <a:pt x="286701" y="798512"/>
                  <a:pt x="277176" y="798512"/>
                </a:cubicBezTo>
                <a:cubicBezTo>
                  <a:pt x="277176" y="798512"/>
                  <a:pt x="277176" y="798512"/>
                  <a:pt x="238124" y="798512"/>
                </a:cubicBezTo>
                <a:close/>
                <a:moveTo>
                  <a:pt x="394334" y="745172"/>
                </a:moveTo>
                <a:lnTo>
                  <a:pt x="403859" y="767079"/>
                </a:lnTo>
                <a:lnTo>
                  <a:pt x="384809" y="767079"/>
                </a:lnTo>
                <a:close/>
                <a:moveTo>
                  <a:pt x="388619" y="731837"/>
                </a:moveTo>
                <a:lnTo>
                  <a:pt x="361949" y="788987"/>
                </a:lnTo>
                <a:lnTo>
                  <a:pt x="376236" y="788987"/>
                </a:lnTo>
                <a:lnTo>
                  <a:pt x="380046" y="778509"/>
                </a:lnTo>
                <a:lnTo>
                  <a:pt x="409574" y="778509"/>
                </a:lnTo>
                <a:lnTo>
                  <a:pt x="414336" y="788987"/>
                </a:lnTo>
                <a:lnTo>
                  <a:pt x="428624" y="788987"/>
                </a:lnTo>
                <a:lnTo>
                  <a:pt x="401001" y="731837"/>
                </a:lnTo>
                <a:close/>
                <a:moveTo>
                  <a:pt x="384810" y="698500"/>
                </a:moveTo>
                <a:cubicBezTo>
                  <a:pt x="384810" y="698500"/>
                  <a:pt x="384810" y="698500"/>
                  <a:pt x="409575" y="698500"/>
                </a:cubicBezTo>
                <a:cubicBezTo>
                  <a:pt x="413385" y="698500"/>
                  <a:pt x="415290" y="701358"/>
                  <a:pt x="415290" y="704215"/>
                </a:cubicBezTo>
                <a:cubicBezTo>
                  <a:pt x="415290" y="707073"/>
                  <a:pt x="412432" y="709930"/>
                  <a:pt x="409575" y="709930"/>
                </a:cubicBezTo>
                <a:cubicBezTo>
                  <a:pt x="409575" y="709930"/>
                  <a:pt x="409575" y="709930"/>
                  <a:pt x="384810" y="709930"/>
                </a:cubicBezTo>
                <a:close/>
                <a:moveTo>
                  <a:pt x="384810" y="677545"/>
                </a:moveTo>
                <a:cubicBezTo>
                  <a:pt x="384810" y="677545"/>
                  <a:pt x="384810" y="677545"/>
                  <a:pt x="408622" y="677545"/>
                </a:cubicBezTo>
                <a:cubicBezTo>
                  <a:pt x="411480" y="677545"/>
                  <a:pt x="413385" y="679450"/>
                  <a:pt x="413385" y="682308"/>
                </a:cubicBezTo>
                <a:cubicBezTo>
                  <a:pt x="413385" y="685165"/>
                  <a:pt x="411480" y="687070"/>
                  <a:pt x="408622" y="687070"/>
                </a:cubicBezTo>
                <a:cubicBezTo>
                  <a:pt x="408622" y="687070"/>
                  <a:pt x="408622" y="687070"/>
                  <a:pt x="384810" y="687070"/>
                </a:cubicBezTo>
                <a:close/>
                <a:moveTo>
                  <a:pt x="371475" y="665163"/>
                </a:moveTo>
                <a:cubicBezTo>
                  <a:pt x="371475" y="665163"/>
                  <a:pt x="371475" y="665163"/>
                  <a:pt x="371475" y="722313"/>
                </a:cubicBezTo>
                <a:cubicBezTo>
                  <a:pt x="371475" y="722313"/>
                  <a:pt x="371475" y="722313"/>
                  <a:pt x="411480" y="722313"/>
                </a:cubicBezTo>
                <a:cubicBezTo>
                  <a:pt x="421005" y="722313"/>
                  <a:pt x="428625" y="714693"/>
                  <a:pt x="428625" y="705168"/>
                </a:cubicBezTo>
                <a:cubicBezTo>
                  <a:pt x="428625" y="700405"/>
                  <a:pt x="426720" y="695643"/>
                  <a:pt x="423862" y="692785"/>
                </a:cubicBezTo>
                <a:cubicBezTo>
                  <a:pt x="425767" y="689928"/>
                  <a:pt x="427672" y="686118"/>
                  <a:pt x="426720" y="682308"/>
                </a:cubicBezTo>
                <a:cubicBezTo>
                  <a:pt x="426720" y="672783"/>
                  <a:pt x="420052" y="665163"/>
                  <a:pt x="410527" y="665163"/>
                </a:cubicBezTo>
                <a:cubicBezTo>
                  <a:pt x="410527" y="665163"/>
                  <a:pt x="410527" y="665163"/>
                  <a:pt x="371475" y="665163"/>
                </a:cubicBezTo>
                <a:close/>
                <a:moveTo>
                  <a:pt x="395906" y="651618"/>
                </a:moveTo>
                <a:cubicBezTo>
                  <a:pt x="461671" y="651618"/>
                  <a:pt x="520052" y="683540"/>
                  <a:pt x="556451" y="732650"/>
                </a:cubicBezTo>
                <a:cubicBezTo>
                  <a:pt x="566299" y="746068"/>
                  <a:pt x="574563" y="760757"/>
                  <a:pt x="580894" y="776411"/>
                </a:cubicBezTo>
                <a:lnTo>
                  <a:pt x="580897" y="776421"/>
                </a:lnTo>
                <a:lnTo>
                  <a:pt x="556803" y="733457"/>
                </a:lnTo>
                <a:cubicBezTo>
                  <a:pt x="520403" y="684370"/>
                  <a:pt x="462023" y="652463"/>
                  <a:pt x="396257" y="652463"/>
                </a:cubicBezTo>
                <a:cubicBezTo>
                  <a:pt x="488400" y="652463"/>
                  <a:pt x="564188" y="723990"/>
                  <a:pt x="570519" y="814450"/>
                </a:cubicBezTo>
                <a:cubicBezTo>
                  <a:pt x="570695" y="818483"/>
                  <a:pt x="570870" y="822515"/>
                  <a:pt x="570870" y="826722"/>
                </a:cubicBezTo>
                <a:cubicBezTo>
                  <a:pt x="570870" y="830754"/>
                  <a:pt x="570695" y="834962"/>
                  <a:pt x="570519" y="838994"/>
                </a:cubicBezTo>
                <a:cubicBezTo>
                  <a:pt x="564188" y="929279"/>
                  <a:pt x="488400" y="1000806"/>
                  <a:pt x="396257" y="1000806"/>
                </a:cubicBezTo>
                <a:cubicBezTo>
                  <a:pt x="330316" y="1000806"/>
                  <a:pt x="271935" y="969075"/>
                  <a:pt x="235711" y="919988"/>
                </a:cubicBezTo>
                <a:cubicBezTo>
                  <a:pt x="225776" y="906576"/>
                  <a:pt x="217512" y="891894"/>
                  <a:pt x="211203" y="876226"/>
                </a:cubicBezTo>
                <a:lnTo>
                  <a:pt x="211136" y="875964"/>
                </a:lnTo>
                <a:lnTo>
                  <a:pt x="235360" y="919269"/>
                </a:lnTo>
                <a:cubicBezTo>
                  <a:pt x="271760" y="968379"/>
                  <a:pt x="329964" y="1000125"/>
                  <a:pt x="395906" y="1000125"/>
                </a:cubicBezTo>
                <a:cubicBezTo>
                  <a:pt x="303763" y="1000125"/>
                  <a:pt x="227974" y="928565"/>
                  <a:pt x="221644" y="838237"/>
                </a:cubicBezTo>
                <a:cubicBezTo>
                  <a:pt x="221292" y="834203"/>
                  <a:pt x="221292" y="829993"/>
                  <a:pt x="221292" y="825959"/>
                </a:cubicBezTo>
                <a:cubicBezTo>
                  <a:pt x="221292" y="821750"/>
                  <a:pt x="221292" y="817716"/>
                  <a:pt x="221644" y="813682"/>
                </a:cubicBezTo>
                <a:cubicBezTo>
                  <a:pt x="227974" y="723179"/>
                  <a:pt x="303763" y="651618"/>
                  <a:pt x="395906" y="651618"/>
                </a:cubicBezTo>
                <a:close/>
                <a:moveTo>
                  <a:pt x="395906" y="627063"/>
                </a:moveTo>
                <a:cubicBezTo>
                  <a:pt x="289872" y="627063"/>
                  <a:pt x="203356" y="709498"/>
                  <a:pt x="196850" y="813682"/>
                </a:cubicBezTo>
                <a:lnTo>
                  <a:pt x="197141" y="816580"/>
                </a:lnTo>
                <a:lnTo>
                  <a:pt x="196850" y="826722"/>
                </a:lnTo>
                <a:cubicBezTo>
                  <a:pt x="196850" y="830754"/>
                  <a:pt x="197026" y="834962"/>
                  <a:pt x="197202" y="838994"/>
                </a:cubicBezTo>
                <a:cubicBezTo>
                  <a:pt x="203708" y="943129"/>
                  <a:pt x="290223" y="1025525"/>
                  <a:pt x="396257" y="1025525"/>
                </a:cubicBezTo>
                <a:cubicBezTo>
                  <a:pt x="502291" y="1025525"/>
                  <a:pt x="588807" y="943129"/>
                  <a:pt x="595313" y="838994"/>
                </a:cubicBezTo>
                <a:lnTo>
                  <a:pt x="595023" y="836067"/>
                </a:lnTo>
                <a:lnTo>
                  <a:pt x="595313" y="825959"/>
                </a:lnTo>
                <a:cubicBezTo>
                  <a:pt x="595313" y="821750"/>
                  <a:pt x="595137" y="817716"/>
                  <a:pt x="594961" y="813682"/>
                </a:cubicBezTo>
                <a:cubicBezTo>
                  <a:pt x="588455" y="709498"/>
                  <a:pt x="501940" y="627063"/>
                  <a:pt x="395906" y="627063"/>
                </a:cubicBezTo>
                <a:close/>
                <a:moveTo>
                  <a:pt x="0" y="0"/>
                </a:moveTo>
                <a:lnTo>
                  <a:pt x="4723899" y="0"/>
                </a:lnTo>
                <a:lnTo>
                  <a:pt x="6057037" y="0"/>
                </a:lnTo>
                <a:lnTo>
                  <a:pt x="5820308" y="1220872"/>
                </a:lnTo>
                <a:lnTo>
                  <a:pt x="3753506" y="6877049"/>
                </a:lnTo>
                <a:lnTo>
                  <a:pt x="0" y="6877049"/>
                </a:lnTo>
                <a:close/>
              </a:path>
            </a:pathLst>
          </a:custGeom>
          <a:gradFill>
            <a:gsLst>
              <a:gs pos="0">
                <a:srgbClr val="D30F4B"/>
              </a:gs>
              <a:gs pos="54000">
                <a:srgbClr val="D30F4B">
                  <a:alpha val="92000"/>
                </a:srgbClr>
              </a:gs>
              <a:gs pos="100000">
                <a:srgbClr val="D30F4B">
                  <a:alpha val="70000"/>
                </a:srgbClr>
              </a:gs>
            </a:gsLst>
            <a:lin ang="0" scaled="1"/>
          </a:gra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">
                <a:noFill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2" y="853724"/>
            <a:ext cx="3567164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bg1"/>
                </a:solidFill>
              </a:defRPr>
            </a:lvl1pPr>
            <a:lvl2pPr marL="0" indent="0" algn="l">
              <a:buNone/>
              <a:defRPr sz="1350">
                <a:solidFill>
                  <a:schemeClr val="bg1"/>
                </a:solidFill>
              </a:defRPr>
            </a:lvl2pPr>
            <a:lvl3pPr marL="0" indent="0" algn="l">
              <a:buNone/>
              <a:defRPr sz="1350">
                <a:solidFill>
                  <a:schemeClr val="bg1"/>
                </a:solidFill>
              </a:defRPr>
            </a:lvl3pPr>
            <a:lvl4pPr marL="0" indent="0" algn="l">
              <a:buNone/>
              <a:defRPr sz="1350">
                <a:solidFill>
                  <a:schemeClr val="bg1"/>
                </a:solidFill>
              </a:defRPr>
            </a:lvl4pPr>
            <a:lvl5pPr marL="0" indent="0" algn="l">
              <a:buNone/>
              <a:defRPr sz="1350">
                <a:solidFill>
                  <a:schemeClr val="bg1"/>
                </a:solidFill>
              </a:defRPr>
            </a:lvl5pPr>
            <a:lvl6pPr marL="0" indent="0" algn="l">
              <a:buNone/>
              <a:defRPr sz="1350">
                <a:solidFill>
                  <a:schemeClr val="bg1"/>
                </a:solidFill>
              </a:defRPr>
            </a:lvl6pPr>
            <a:lvl7pPr marL="0" indent="0" algn="l">
              <a:buNone/>
              <a:defRPr sz="1350">
                <a:solidFill>
                  <a:schemeClr val="bg1"/>
                </a:solidFill>
              </a:defRPr>
            </a:lvl7pPr>
            <a:lvl8pPr marL="0" indent="0" algn="l">
              <a:buNone/>
              <a:defRPr sz="1350">
                <a:solidFill>
                  <a:schemeClr val="bg1"/>
                </a:solidFill>
              </a:defRPr>
            </a:lvl8pPr>
            <a:lvl9pPr marL="0" indent="0" algn="l">
              <a:buNone/>
              <a:defRPr sz="13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36462" y="136454"/>
            <a:ext cx="3567164" cy="64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 bwMode="gray">
          <a:xfrm>
            <a:off x="735307" y="1299563"/>
            <a:ext cx="3567164" cy="35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025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 marL="405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3pPr>
            <a:lvl4pPr marL="6075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4pPr>
            <a:lvl5pPr marL="810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5pPr>
            <a:lvl6pPr marL="810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6pPr>
            <a:lvl7pPr marL="810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7pPr>
            <a:lvl8pPr marL="810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8pPr>
            <a:lvl9pPr marL="810000" indent="-2025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EE15F5F-D2FD-4E8B-A652-8485C263B7CC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D75C9DE-7C00-4172-B45A-785F6EB104D7}"/>
              </a:ext>
            </a:extLst>
          </p:cNvPr>
          <p:cNvGrpSpPr/>
          <p:nvPr userDrawn="1"/>
        </p:nvGrpSpPr>
        <p:grpSpPr>
          <a:xfrm>
            <a:off x="147657" y="463153"/>
            <a:ext cx="298886" cy="298847"/>
            <a:chOff x="196850" y="617538"/>
            <a:chExt cx="398463" cy="398462"/>
          </a:xfrm>
        </p:grpSpPr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70CE2879-9EDB-4370-87DF-53ADF21D17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50" y="617538"/>
              <a:ext cx="398463" cy="373062"/>
            </a:xfrm>
            <a:custGeom>
              <a:avLst/>
              <a:gdLst>
                <a:gd name="T0" fmla="*/ 2264 w 2266"/>
                <a:gd name="T1" fmla="*/ 1064 h 2127"/>
                <a:gd name="T2" fmla="*/ 1132 w 2266"/>
                <a:gd name="T3" fmla="*/ 0 h 2127"/>
                <a:gd name="T4" fmla="*/ 0 w 2266"/>
                <a:gd name="T5" fmla="*/ 1064 h 2127"/>
                <a:gd name="T6" fmla="*/ 7 w 2266"/>
                <a:gd name="T7" fmla="*/ 1134 h 2127"/>
                <a:gd name="T8" fmla="*/ 219 w 2266"/>
                <a:gd name="T9" fmla="*/ 1666 h 2127"/>
                <a:gd name="T10" fmla="*/ 1132 w 2266"/>
                <a:gd name="T11" fmla="*/ 2127 h 2127"/>
                <a:gd name="T12" fmla="*/ 141 w 2266"/>
                <a:gd name="T13" fmla="*/ 1204 h 2127"/>
                <a:gd name="T14" fmla="*/ 139 w 2266"/>
                <a:gd name="T15" fmla="*/ 1134 h 2127"/>
                <a:gd name="T16" fmla="*/ 141 w 2266"/>
                <a:gd name="T17" fmla="*/ 1064 h 2127"/>
                <a:gd name="T18" fmla="*/ 1132 w 2266"/>
                <a:gd name="T19" fmla="*/ 140 h 2127"/>
                <a:gd name="T20" fmla="*/ 2045 w 2266"/>
                <a:gd name="T21" fmla="*/ 602 h 2127"/>
                <a:gd name="T22" fmla="*/ 2257 w 2266"/>
                <a:gd name="T23" fmla="*/ 1134 h 2127"/>
                <a:gd name="T24" fmla="*/ 2264 w 2266"/>
                <a:gd name="T25" fmla="*/ 1204 h 2127"/>
                <a:gd name="T26" fmla="*/ 2266 w 2266"/>
                <a:gd name="T27" fmla="*/ 1134 h 2127"/>
                <a:gd name="T28" fmla="*/ 2264 w 2266"/>
                <a:gd name="T29" fmla="*/ 1064 h 2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66" h="2127">
                  <a:moveTo>
                    <a:pt x="2264" y="1064"/>
                  </a:moveTo>
                  <a:cubicBezTo>
                    <a:pt x="2227" y="470"/>
                    <a:pt x="1735" y="0"/>
                    <a:pt x="1132" y="0"/>
                  </a:cubicBezTo>
                  <a:cubicBezTo>
                    <a:pt x="529" y="0"/>
                    <a:pt x="37" y="470"/>
                    <a:pt x="0" y="1064"/>
                  </a:cubicBezTo>
                  <a:cubicBezTo>
                    <a:pt x="2" y="1087"/>
                    <a:pt x="4" y="1111"/>
                    <a:pt x="7" y="1134"/>
                  </a:cubicBezTo>
                  <a:cubicBezTo>
                    <a:pt x="31" y="1332"/>
                    <a:pt x="107" y="1513"/>
                    <a:pt x="219" y="1666"/>
                  </a:cubicBezTo>
                  <a:cubicBezTo>
                    <a:pt x="426" y="1946"/>
                    <a:pt x="757" y="2127"/>
                    <a:pt x="1132" y="2127"/>
                  </a:cubicBezTo>
                  <a:cubicBezTo>
                    <a:pt x="608" y="2127"/>
                    <a:pt x="177" y="1719"/>
                    <a:pt x="141" y="1204"/>
                  </a:cubicBezTo>
                  <a:cubicBezTo>
                    <a:pt x="139" y="1181"/>
                    <a:pt x="139" y="1157"/>
                    <a:pt x="139" y="1134"/>
                  </a:cubicBezTo>
                  <a:cubicBezTo>
                    <a:pt x="139" y="1110"/>
                    <a:pt x="139" y="1087"/>
                    <a:pt x="141" y="1064"/>
                  </a:cubicBezTo>
                  <a:cubicBezTo>
                    <a:pt x="177" y="548"/>
                    <a:pt x="608" y="140"/>
                    <a:pt x="1132" y="140"/>
                  </a:cubicBezTo>
                  <a:cubicBezTo>
                    <a:pt x="1506" y="140"/>
                    <a:pt x="1838" y="322"/>
                    <a:pt x="2045" y="602"/>
                  </a:cubicBezTo>
                  <a:cubicBezTo>
                    <a:pt x="2157" y="755"/>
                    <a:pt x="2233" y="937"/>
                    <a:pt x="2257" y="1134"/>
                  </a:cubicBezTo>
                  <a:cubicBezTo>
                    <a:pt x="2260" y="1157"/>
                    <a:pt x="2262" y="1181"/>
                    <a:pt x="2264" y="1204"/>
                  </a:cubicBezTo>
                  <a:cubicBezTo>
                    <a:pt x="2265" y="1181"/>
                    <a:pt x="2266" y="1157"/>
                    <a:pt x="2266" y="1134"/>
                  </a:cubicBezTo>
                  <a:cubicBezTo>
                    <a:pt x="2266" y="1110"/>
                    <a:pt x="2265" y="1087"/>
                    <a:pt x="2264" y="1064"/>
                  </a:cubicBezTo>
                </a:path>
              </a:pathLst>
            </a:custGeom>
            <a:solidFill>
              <a:srgbClr val="89D3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/>
            </a:p>
          </p:txBody>
        </p:sp>
        <p:sp>
          <p:nvSpPr>
            <p:cNvPr id="43" name="Freeform 15">
              <a:extLst>
                <a:ext uri="{FF2B5EF4-FFF2-40B4-BE49-F238E27FC236}">
                  <a16:creationId xmlns:a16="http://schemas.microsoft.com/office/drawing/2014/main" id="{AF60F425-7775-4409-A478-BC5163E139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50" y="642938"/>
              <a:ext cx="398463" cy="373062"/>
            </a:xfrm>
            <a:custGeom>
              <a:avLst/>
              <a:gdLst>
                <a:gd name="T0" fmla="*/ 2 w 2266"/>
                <a:gd name="T1" fmla="*/ 1064 h 2128"/>
                <a:gd name="T2" fmla="*/ 1134 w 2266"/>
                <a:gd name="T3" fmla="*/ 2128 h 2128"/>
                <a:gd name="T4" fmla="*/ 2266 w 2266"/>
                <a:gd name="T5" fmla="*/ 1064 h 2128"/>
                <a:gd name="T6" fmla="*/ 2259 w 2266"/>
                <a:gd name="T7" fmla="*/ 993 h 2128"/>
                <a:gd name="T8" fmla="*/ 2047 w 2266"/>
                <a:gd name="T9" fmla="*/ 462 h 2128"/>
                <a:gd name="T10" fmla="*/ 1134 w 2266"/>
                <a:gd name="T11" fmla="*/ 0 h 2128"/>
                <a:gd name="T12" fmla="*/ 2125 w 2266"/>
                <a:gd name="T13" fmla="*/ 924 h 2128"/>
                <a:gd name="T14" fmla="*/ 2127 w 2266"/>
                <a:gd name="T15" fmla="*/ 994 h 2128"/>
                <a:gd name="T16" fmla="*/ 2125 w 2266"/>
                <a:gd name="T17" fmla="*/ 1064 h 2128"/>
                <a:gd name="T18" fmla="*/ 1134 w 2266"/>
                <a:gd name="T19" fmla="*/ 1987 h 2128"/>
                <a:gd name="T20" fmla="*/ 221 w 2266"/>
                <a:gd name="T21" fmla="*/ 1526 h 2128"/>
                <a:gd name="T22" fmla="*/ 9 w 2266"/>
                <a:gd name="T23" fmla="*/ 993 h 2128"/>
                <a:gd name="T24" fmla="*/ 2 w 2266"/>
                <a:gd name="T25" fmla="*/ 924 h 2128"/>
                <a:gd name="T26" fmla="*/ 0 w 2266"/>
                <a:gd name="T27" fmla="*/ 994 h 2128"/>
                <a:gd name="T28" fmla="*/ 2 w 2266"/>
                <a:gd name="T29" fmla="*/ 1064 h 2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66" h="2128">
                  <a:moveTo>
                    <a:pt x="2" y="1064"/>
                  </a:moveTo>
                  <a:cubicBezTo>
                    <a:pt x="39" y="1658"/>
                    <a:pt x="531" y="2128"/>
                    <a:pt x="1134" y="2128"/>
                  </a:cubicBezTo>
                  <a:cubicBezTo>
                    <a:pt x="1737" y="2128"/>
                    <a:pt x="2229" y="1658"/>
                    <a:pt x="2266" y="1064"/>
                  </a:cubicBezTo>
                  <a:cubicBezTo>
                    <a:pt x="2264" y="1040"/>
                    <a:pt x="2262" y="1017"/>
                    <a:pt x="2259" y="993"/>
                  </a:cubicBezTo>
                  <a:cubicBezTo>
                    <a:pt x="2235" y="796"/>
                    <a:pt x="2159" y="614"/>
                    <a:pt x="2047" y="462"/>
                  </a:cubicBezTo>
                  <a:cubicBezTo>
                    <a:pt x="1840" y="182"/>
                    <a:pt x="1508" y="0"/>
                    <a:pt x="1134" y="0"/>
                  </a:cubicBezTo>
                  <a:cubicBezTo>
                    <a:pt x="1658" y="0"/>
                    <a:pt x="2089" y="408"/>
                    <a:pt x="2125" y="924"/>
                  </a:cubicBezTo>
                  <a:cubicBezTo>
                    <a:pt x="2126" y="947"/>
                    <a:pt x="2127" y="970"/>
                    <a:pt x="2127" y="994"/>
                  </a:cubicBezTo>
                  <a:cubicBezTo>
                    <a:pt x="2127" y="1017"/>
                    <a:pt x="2126" y="1041"/>
                    <a:pt x="2125" y="1064"/>
                  </a:cubicBezTo>
                  <a:cubicBezTo>
                    <a:pt x="2089" y="1579"/>
                    <a:pt x="1658" y="1987"/>
                    <a:pt x="1134" y="1987"/>
                  </a:cubicBezTo>
                  <a:cubicBezTo>
                    <a:pt x="759" y="1987"/>
                    <a:pt x="427" y="1806"/>
                    <a:pt x="221" y="1526"/>
                  </a:cubicBezTo>
                  <a:cubicBezTo>
                    <a:pt x="108" y="1373"/>
                    <a:pt x="33" y="1191"/>
                    <a:pt x="9" y="993"/>
                  </a:cubicBezTo>
                  <a:cubicBezTo>
                    <a:pt x="6" y="970"/>
                    <a:pt x="4" y="947"/>
                    <a:pt x="2" y="924"/>
                  </a:cubicBezTo>
                  <a:cubicBezTo>
                    <a:pt x="1" y="947"/>
                    <a:pt x="0" y="970"/>
                    <a:pt x="0" y="994"/>
                  </a:cubicBezTo>
                  <a:cubicBezTo>
                    <a:pt x="0" y="1017"/>
                    <a:pt x="1" y="1041"/>
                    <a:pt x="2" y="1064"/>
                  </a:cubicBezTo>
                </a:path>
              </a:pathLst>
            </a:custGeom>
            <a:solidFill>
              <a:srgbClr val="00B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13BB1630-6866-4B1C-A707-87B67AE766D5}"/>
                </a:ext>
              </a:extLst>
            </p:cNvPr>
            <p:cNvSpPr/>
            <p:nvPr userDrawn="1"/>
          </p:nvSpPr>
          <p:spPr>
            <a:xfrm>
              <a:off x="364331" y="648494"/>
              <a:ext cx="66675" cy="66675"/>
            </a:xfrm>
            <a:custGeom>
              <a:avLst/>
              <a:gdLst>
                <a:gd name="connsiteX0" fmla="*/ 20479 w 66675"/>
                <a:gd name="connsiteY0" fmla="*/ 29051 h 66675"/>
                <a:gd name="connsiteX1" fmla="*/ 44291 w 66675"/>
                <a:gd name="connsiteY1" fmla="*/ 29051 h 66675"/>
                <a:gd name="connsiteX2" fmla="*/ 49054 w 66675"/>
                <a:gd name="connsiteY2" fmla="*/ 24289 h 66675"/>
                <a:gd name="connsiteX3" fmla="*/ 44291 w 66675"/>
                <a:gd name="connsiteY3" fmla="*/ 19526 h 66675"/>
                <a:gd name="connsiteX4" fmla="*/ 20479 w 66675"/>
                <a:gd name="connsiteY4" fmla="*/ 19526 h 66675"/>
                <a:gd name="connsiteX5" fmla="*/ 20479 w 66675"/>
                <a:gd name="connsiteY5" fmla="*/ 29051 h 66675"/>
                <a:gd name="connsiteX6" fmla="*/ 20479 w 66675"/>
                <a:gd name="connsiteY6" fmla="*/ 29051 h 66675"/>
                <a:gd name="connsiteX7" fmla="*/ 20479 w 66675"/>
                <a:gd name="connsiteY7" fmla="*/ 29051 h 66675"/>
                <a:gd name="connsiteX8" fmla="*/ 20479 w 66675"/>
                <a:gd name="connsiteY8" fmla="*/ 51911 h 66675"/>
                <a:gd name="connsiteX9" fmla="*/ 45244 w 66675"/>
                <a:gd name="connsiteY9" fmla="*/ 51911 h 66675"/>
                <a:gd name="connsiteX10" fmla="*/ 50959 w 66675"/>
                <a:gd name="connsiteY10" fmla="*/ 46196 h 66675"/>
                <a:gd name="connsiteX11" fmla="*/ 45244 w 66675"/>
                <a:gd name="connsiteY11" fmla="*/ 40481 h 66675"/>
                <a:gd name="connsiteX12" fmla="*/ 20479 w 66675"/>
                <a:gd name="connsiteY12" fmla="*/ 40481 h 66675"/>
                <a:gd name="connsiteX13" fmla="*/ 20479 w 66675"/>
                <a:gd name="connsiteY13" fmla="*/ 51911 h 66675"/>
                <a:gd name="connsiteX14" fmla="*/ 20479 w 66675"/>
                <a:gd name="connsiteY14" fmla="*/ 51911 h 66675"/>
                <a:gd name="connsiteX15" fmla="*/ 20479 w 66675"/>
                <a:gd name="connsiteY15" fmla="*/ 51911 h 66675"/>
                <a:gd name="connsiteX16" fmla="*/ 59531 w 66675"/>
                <a:gd name="connsiteY16" fmla="*/ 34766 h 66675"/>
                <a:gd name="connsiteX17" fmla="*/ 64294 w 66675"/>
                <a:gd name="connsiteY17" fmla="*/ 47149 h 66675"/>
                <a:gd name="connsiteX18" fmla="*/ 47149 w 66675"/>
                <a:gd name="connsiteY18" fmla="*/ 64294 h 66675"/>
                <a:gd name="connsiteX19" fmla="*/ 7144 w 66675"/>
                <a:gd name="connsiteY19" fmla="*/ 64294 h 66675"/>
                <a:gd name="connsiteX20" fmla="*/ 7144 w 66675"/>
                <a:gd name="connsiteY20" fmla="*/ 7144 h 66675"/>
                <a:gd name="connsiteX21" fmla="*/ 46196 w 66675"/>
                <a:gd name="connsiteY21" fmla="*/ 7144 h 66675"/>
                <a:gd name="connsiteX22" fmla="*/ 62389 w 66675"/>
                <a:gd name="connsiteY22" fmla="*/ 24289 h 66675"/>
                <a:gd name="connsiteX23" fmla="*/ 59531 w 66675"/>
                <a:gd name="connsiteY23" fmla="*/ 34766 h 66675"/>
                <a:gd name="connsiteX24" fmla="*/ 59531 w 66675"/>
                <a:gd name="connsiteY24" fmla="*/ 3476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6675" h="66675">
                  <a:moveTo>
                    <a:pt x="20479" y="29051"/>
                  </a:moveTo>
                  <a:cubicBezTo>
                    <a:pt x="44291" y="29051"/>
                    <a:pt x="44291" y="29051"/>
                    <a:pt x="44291" y="29051"/>
                  </a:cubicBezTo>
                  <a:cubicBezTo>
                    <a:pt x="47149" y="29051"/>
                    <a:pt x="49054" y="27146"/>
                    <a:pt x="49054" y="24289"/>
                  </a:cubicBezTo>
                  <a:cubicBezTo>
                    <a:pt x="49054" y="21431"/>
                    <a:pt x="47149" y="19526"/>
                    <a:pt x="44291" y="19526"/>
                  </a:cubicBezTo>
                  <a:cubicBezTo>
                    <a:pt x="20479" y="19526"/>
                    <a:pt x="20479" y="19526"/>
                    <a:pt x="20479" y="19526"/>
                  </a:cubicBezTo>
                  <a:lnTo>
                    <a:pt x="20479" y="29051"/>
                  </a:lnTo>
                  <a:lnTo>
                    <a:pt x="20479" y="29051"/>
                  </a:lnTo>
                  <a:lnTo>
                    <a:pt x="20479" y="29051"/>
                  </a:lnTo>
                  <a:close/>
                  <a:moveTo>
                    <a:pt x="20479" y="51911"/>
                  </a:moveTo>
                  <a:cubicBezTo>
                    <a:pt x="45244" y="51911"/>
                    <a:pt x="45244" y="51911"/>
                    <a:pt x="45244" y="51911"/>
                  </a:cubicBezTo>
                  <a:cubicBezTo>
                    <a:pt x="48101" y="51911"/>
                    <a:pt x="50959" y="49054"/>
                    <a:pt x="50959" y="46196"/>
                  </a:cubicBezTo>
                  <a:cubicBezTo>
                    <a:pt x="50959" y="43339"/>
                    <a:pt x="49054" y="40481"/>
                    <a:pt x="45244" y="40481"/>
                  </a:cubicBezTo>
                  <a:cubicBezTo>
                    <a:pt x="20479" y="40481"/>
                    <a:pt x="20479" y="40481"/>
                    <a:pt x="20479" y="40481"/>
                  </a:cubicBezTo>
                  <a:lnTo>
                    <a:pt x="20479" y="51911"/>
                  </a:lnTo>
                  <a:lnTo>
                    <a:pt x="20479" y="51911"/>
                  </a:lnTo>
                  <a:lnTo>
                    <a:pt x="20479" y="51911"/>
                  </a:lnTo>
                  <a:close/>
                  <a:moveTo>
                    <a:pt x="59531" y="34766"/>
                  </a:moveTo>
                  <a:cubicBezTo>
                    <a:pt x="62389" y="37624"/>
                    <a:pt x="64294" y="42386"/>
                    <a:pt x="64294" y="47149"/>
                  </a:cubicBezTo>
                  <a:cubicBezTo>
                    <a:pt x="64294" y="56674"/>
                    <a:pt x="56674" y="64294"/>
                    <a:pt x="47149" y="64294"/>
                  </a:cubicBezTo>
                  <a:cubicBezTo>
                    <a:pt x="7144" y="64294"/>
                    <a:pt x="7144" y="64294"/>
                    <a:pt x="7144" y="64294"/>
                  </a:cubicBezTo>
                  <a:cubicBezTo>
                    <a:pt x="7144" y="7144"/>
                    <a:pt x="7144" y="7144"/>
                    <a:pt x="7144" y="7144"/>
                  </a:cubicBezTo>
                  <a:cubicBezTo>
                    <a:pt x="46196" y="7144"/>
                    <a:pt x="46196" y="7144"/>
                    <a:pt x="46196" y="7144"/>
                  </a:cubicBezTo>
                  <a:cubicBezTo>
                    <a:pt x="55721" y="7144"/>
                    <a:pt x="62389" y="14764"/>
                    <a:pt x="62389" y="24289"/>
                  </a:cubicBezTo>
                  <a:cubicBezTo>
                    <a:pt x="63341" y="28099"/>
                    <a:pt x="61436" y="31909"/>
                    <a:pt x="59531" y="34766"/>
                  </a:cubicBezTo>
                  <a:lnTo>
                    <a:pt x="59531" y="3476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8C71AA53-DFDC-4B40-B426-4C1DDA461154}"/>
                </a:ext>
              </a:extLst>
            </p:cNvPr>
            <p:cNvSpPr/>
            <p:nvPr userDrawn="1"/>
          </p:nvSpPr>
          <p:spPr>
            <a:xfrm>
              <a:off x="354806" y="781844"/>
              <a:ext cx="76200" cy="66675"/>
            </a:xfrm>
            <a:custGeom>
              <a:avLst/>
              <a:gdLst>
                <a:gd name="connsiteX0" fmla="*/ 58579 w 76200"/>
                <a:gd name="connsiteY0" fmla="*/ 7144 h 66675"/>
                <a:gd name="connsiteX1" fmla="*/ 73819 w 76200"/>
                <a:gd name="connsiteY1" fmla="*/ 7144 h 66675"/>
                <a:gd name="connsiteX2" fmla="*/ 47149 w 76200"/>
                <a:gd name="connsiteY2" fmla="*/ 44291 h 66675"/>
                <a:gd name="connsiteX3" fmla="*/ 47149 w 76200"/>
                <a:gd name="connsiteY3" fmla="*/ 64294 h 66675"/>
                <a:gd name="connsiteX4" fmla="*/ 33814 w 76200"/>
                <a:gd name="connsiteY4" fmla="*/ 64294 h 66675"/>
                <a:gd name="connsiteX5" fmla="*/ 33814 w 76200"/>
                <a:gd name="connsiteY5" fmla="*/ 44291 h 66675"/>
                <a:gd name="connsiteX6" fmla="*/ 7144 w 76200"/>
                <a:gd name="connsiteY6" fmla="*/ 7144 h 66675"/>
                <a:gd name="connsiteX7" fmla="*/ 22384 w 76200"/>
                <a:gd name="connsiteY7" fmla="*/ 7144 h 66675"/>
                <a:gd name="connsiteX8" fmla="*/ 41434 w 76200"/>
                <a:gd name="connsiteY8" fmla="*/ 31909 h 66675"/>
                <a:gd name="connsiteX9" fmla="*/ 58579 w 76200"/>
                <a:gd name="connsiteY9" fmla="*/ 7144 h 66675"/>
                <a:gd name="connsiteX10" fmla="*/ 58579 w 76200"/>
                <a:gd name="connsiteY10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6200" h="66675">
                  <a:moveTo>
                    <a:pt x="58579" y="7144"/>
                  </a:moveTo>
                  <a:lnTo>
                    <a:pt x="73819" y="7144"/>
                  </a:lnTo>
                  <a:lnTo>
                    <a:pt x="47149" y="44291"/>
                  </a:lnTo>
                  <a:lnTo>
                    <a:pt x="47149" y="64294"/>
                  </a:lnTo>
                  <a:lnTo>
                    <a:pt x="33814" y="64294"/>
                  </a:lnTo>
                  <a:lnTo>
                    <a:pt x="33814" y="44291"/>
                  </a:lnTo>
                  <a:lnTo>
                    <a:pt x="7144" y="7144"/>
                  </a:lnTo>
                  <a:lnTo>
                    <a:pt x="22384" y="7144"/>
                  </a:lnTo>
                  <a:lnTo>
                    <a:pt x="41434" y="31909"/>
                  </a:lnTo>
                  <a:lnTo>
                    <a:pt x="58579" y="7144"/>
                  </a:lnTo>
                  <a:lnTo>
                    <a:pt x="58579" y="71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B43B809E-ACFF-44EB-8700-B5F74B59D38A}"/>
                </a:ext>
              </a:extLst>
            </p:cNvPr>
            <p:cNvSpPr/>
            <p:nvPr userDrawn="1"/>
          </p:nvSpPr>
          <p:spPr>
            <a:xfrm>
              <a:off x="431006" y="781844"/>
              <a:ext cx="57150" cy="66675"/>
            </a:xfrm>
            <a:custGeom>
              <a:avLst/>
              <a:gdLst>
                <a:gd name="connsiteX0" fmla="*/ 54769 w 57150"/>
                <a:gd name="connsiteY0" fmla="*/ 7144 h 66675"/>
                <a:gd name="connsiteX1" fmla="*/ 54769 w 57150"/>
                <a:gd name="connsiteY1" fmla="*/ 18574 h 66675"/>
                <a:gd name="connsiteX2" fmla="*/ 19526 w 57150"/>
                <a:gd name="connsiteY2" fmla="*/ 18574 h 66675"/>
                <a:gd name="connsiteX3" fmla="*/ 19526 w 57150"/>
                <a:gd name="connsiteY3" fmla="*/ 29051 h 66675"/>
                <a:gd name="connsiteX4" fmla="*/ 54769 w 57150"/>
                <a:gd name="connsiteY4" fmla="*/ 29051 h 66675"/>
                <a:gd name="connsiteX5" fmla="*/ 54769 w 57150"/>
                <a:gd name="connsiteY5" fmla="*/ 40481 h 66675"/>
                <a:gd name="connsiteX6" fmla="*/ 19526 w 57150"/>
                <a:gd name="connsiteY6" fmla="*/ 40481 h 66675"/>
                <a:gd name="connsiteX7" fmla="*/ 19526 w 57150"/>
                <a:gd name="connsiteY7" fmla="*/ 52864 h 66675"/>
                <a:gd name="connsiteX8" fmla="*/ 54769 w 57150"/>
                <a:gd name="connsiteY8" fmla="*/ 52864 h 66675"/>
                <a:gd name="connsiteX9" fmla="*/ 54769 w 57150"/>
                <a:gd name="connsiteY9" fmla="*/ 64294 h 66675"/>
                <a:gd name="connsiteX10" fmla="*/ 7144 w 57150"/>
                <a:gd name="connsiteY10" fmla="*/ 64294 h 66675"/>
                <a:gd name="connsiteX11" fmla="*/ 7144 w 57150"/>
                <a:gd name="connsiteY11" fmla="*/ 7144 h 66675"/>
                <a:gd name="connsiteX12" fmla="*/ 54769 w 57150"/>
                <a:gd name="connsiteY12" fmla="*/ 7144 h 66675"/>
                <a:gd name="connsiteX13" fmla="*/ 54769 w 57150"/>
                <a:gd name="connsiteY13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66675">
                  <a:moveTo>
                    <a:pt x="54769" y="7144"/>
                  </a:moveTo>
                  <a:lnTo>
                    <a:pt x="54769" y="18574"/>
                  </a:lnTo>
                  <a:lnTo>
                    <a:pt x="19526" y="18574"/>
                  </a:lnTo>
                  <a:lnTo>
                    <a:pt x="19526" y="29051"/>
                  </a:lnTo>
                  <a:lnTo>
                    <a:pt x="54769" y="29051"/>
                  </a:lnTo>
                  <a:lnTo>
                    <a:pt x="54769" y="40481"/>
                  </a:lnTo>
                  <a:lnTo>
                    <a:pt x="19526" y="40481"/>
                  </a:lnTo>
                  <a:lnTo>
                    <a:pt x="19526" y="52864"/>
                  </a:lnTo>
                  <a:lnTo>
                    <a:pt x="54769" y="52864"/>
                  </a:lnTo>
                  <a:lnTo>
                    <a:pt x="54769" y="64294"/>
                  </a:lnTo>
                  <a:lnTo>
                    <a:pt x="7144" y="64294"/>
                  </a:lnTo>
                  <a:lnTo>
                    <a:pt x="7144" y="7144"/>
                  </a:lnTo>
                  <a:lnTo>
                    <a:pt x="54769" y="7144"/>
                  </a:lnTo>
                  <a:lnTo>
                    <a:pt x="54769" y="71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B63F1353-5760-4C91-A56F-CD7590990DEC}"/>
                </a:ext>
              </a:extLst>
            </p:cNvPr>
            <p:cNvSpPr/>
            <p:nvPr userDrawn="1"/>
          </p:nvSpPr>
          <p:spPr>
            <a:xfrm>
              <a:off x="497681" y="781844"/>
              <a:ext cx="66675" cy="66675"/>
            </a:xfrm>
            <a:custGeom>
              <a:avLst/>
              <a:gdLst>
                <a:gd name="connsiteX0" fmla="*/ 30956 w 66675"/>
                <a:gd name="connsiteY0" fmla="*/ 42386 h 66675"/>
                <a:gd name="connsiteX1" fmla="*/ 20479 w 66675"/>
                <a:gd name="connsiteY1" fmla="*/ 42386 h 66675"/>
                <a:gd name="connsiteX2" fmla="*/ 20479 w 66675"/>
                <a:gd name="connsiteY2" fmla="*/ 64294 h 66675"/>
                <a:gd name="connsiteX3" fmla="*/ 7144 w 66675"/>
                <a:gd name="connsiteY3" fmla="*/ 64294 h 66675"/>
                <a:gd name="connsiteX4" fmla="*/ 7144 w 66675"/>
                <a:gd name="connsiteY4" fmla="*/ 7144 h 66675"/>
                <a:gd name="connsiteX5" fmla="*/ 42386 w 66675"/>
                <a:gd name="connsiteY5" fmla="*/ 7144 h 66675"/>
                <a:gd name="connsiteX6" fmla="*/ 60484 w 66675"/>
                <a:gd name="connsiteY6" fmla="*/ 25241 h 66675"/>
                <a:gd name="connsiteX7" fmla="*/ 47149 w 66675"/>
                <a:gd name="connsiteY7" fmla="*/ 42386 h 66675"/>
                <a:gd name="connsiteX8" fmla="*/ 64294 w 66675"/>
                <a:gd name="connsiteY8" fmla="*/ 64294 h 66675"/>
                <a:gd name="connsiteX9" fmla="*/ 48101 w 66675"/>
                <a:gd name="connsiteY9" fmla="*/ 64294 h 66675"/>
                <a:gd name="connsiteX10" fmla="*/ 30956 w 66675"/>
                <a:gd name="connsiteY10" fmla="*/ 42386 h 66675"/>
                <a:gd name="connsiteX11" fmla="*/ 30956 w 66675"/>
                <a:gd name="connsiteY11" fmla="*/ 42386 h 66675"/>
                <a:gd name="connsiteX12" fmla="*/ 30956 w 66675"/>
                <a:gd name="connsiteY12" fmla="*/ 42386 h 66675"/>
                <a:gd name="connsiteX13" fmla="*/ 40481 w 66675"/>
                <a:gd name="connsiteY13" fmla="*/ 19526 h 66675"/>
                <a:gd name="connsiteX14" fmla="*/ 20479 w 66675"/>
                <a:gd name="connsiteY14" fmla="*/ 19526 h 66675"/>
                <a:gd name="connsiteX15" fmla="*/ 20479 w 66675"/>
                <a:gd name="connsiteY15" fmla="*/ 30004 h 66675"/>
                <a:gd name="connsiteX16" fmla="*/ 40481 w 66675"/>
                <a:gd name="connsiteY16" fmla="*/ 30004 h 66675"/>
                <a:gd name="connsiteX17" fmla="*/ 46196 w 66675"/>
                <a:gd name="connsiteY17" fmla="*/ 24289 h 66675"/>
                <a:gd name="connsiteX18" fmla="*/ 40481 w 66675"/>
                <a:gd name="connsiteY18" fmla="*/ 19526 h 66675"/>
                <a:gd name="connsiteX19" fmla="*/ 40481 w 66675"/>
                <a:gd name="connsiteY19" fmla="*/ 1952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6675" h="66675">
                  <a:moveTo>
                    <a:pt x="30956" y="42386"/>
                  </a:moveTo>
                  <a:cubicBezTo>
                    <a:pt x="20479" y="42386"/>
                    <a:pt x="20479" y="42386"/>
                    <a:pt x="20479" y="42386"/>
                  </a:cubicBezTo>
                  <a:cubicBezTo>
                    <a:pt x="20479" y="64294"/>
                    <a:pt x="20479" y="64294"/>
                    <a:pt x="20479" y="64294"/>
                  </a:cubicBezTo>
                  <a:cubicBezTo>
                    <a:pt x="7144" y="64294"/>
                    <a:pt x="7144" y="64294"/>
                    <a:pt x="7144" y="64294"/>
                  </a:cubicBezTo>
                  <a:cubicBezTo>
                    <a:pt x="7144" y="7144"/>
                    <a:pt x="7144" y="7144"/>
                    <a:pt x="7144" y="7144"/>
                  </a:cubicBezTo>
                  <a:cubicBezTo>
                    <a:pt x="42386" y="7144"/>
                    <a:pt x="42386" y="7144"/>
                    <a:pt x="42386" y="7144"/>
                  </a:cubicBezTo>
                  <a:cubicBezTo>
                    <a:pt x="51911" y="7144"/>
                    <a:pt x="60484" y="14764"/>
                    <a:pt x="60484" y="25241"/>
                  </a:cubicBezTo>
                  <a:cubicBezTo>
                    <a:pt x="60484" y="32861"/>
                    <a:pt x="54769" y="39529"/>
                    <a:pt x="47149" y="42386"/>
                  </a:cubicBezTo>
                  <a:cubicBezTo>
                    <a:pt x="64294" y="64294"/>
                    <a:pt x="64294" y="64294"/>
                    <a:pt x="64294" y="64294"/>
                  </a:cubicBezTo>
                  <a:cubicBezTo>
                    <a:pt x="48101" y="64294"/>
                    <a:pt x="48101" y="64294"/>
                    <a:pt x="48101" y="64294"/>
                  </a:cubicBezTo>
                  <a:lnTo>
                    <a:pt x="30956" y="42386"/>
                  </a:lnTo>
                  <a:lnTo>
                    <a:pt x="30956" y="42386"/>
                  </a:lnTo>
                  <a:lnTo>
                    <a:pt x="30956" y="42386"/>
                  </a:lnTo>
                  <a:close/>
                  <a:moveTo>
                    <a:pt x="40481" y="19526"/>
                  </a:moveTo>
                  <a:cubicBezTo>
                    <a:pt x="20479" y="19526"/>
                    <a:pt x="20479" y="19526"/>
                    <a:pt x="20479" y="19526"/>
                  </a:cubicBezTo>
                  <a:cubicBezTo>
                    <a:pt x="20479" y="30004"/>
                    <a:pt x="20479" y="30004"/>
                    <a:pt x="20479" y="30004"/>
                  </a:cubicBezTo>
                  <a:cubicBezTo>
                    <a:pt x="40481" y="30004"/>
                    <a:pt x="40481" y="30004"/>
                    <a:pt x="40481" y="30004"/>
                  </a:cubicBezTo>
                  <a:cubicBezTo>
                    <a:pt x="43339" y="30004"/>
                    <a:pt x="46196" y="27146"/>
                    <a:pt x="46196" y="24289"/>
                  </a:cubicBezTo>
                  <a:cubicBezTo>
                    <a:pt x="46196" y="21431"/>
                    <a:pt x="44291" y="19526"/>
                    <a:pt x="40481" y="19526"/>
                  </a:cubicBezTo>
                  <a:lnTo>
                    <a:pt x="40481" y="1952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A1DF23D4-722E-49DA-ABE9-7E74896D68D1}"/>
                </a:ext>
              </a:extLst>
            </p:cNvPr>
            <p:cNvSpPr/>
            <p:nvPr userDrawn="1"/>
          </p:nvSpPr>
          <p:spPr>
            <a:xfrm>
              <a:off x="292894" y="781844"/>
              <a:ext cx="76200" cy="66675"/>
            </a:xfrm>
            <a:custGeom>
              <a:avLst/>
              <a:gdLst>
                <a:gd name="connsiteX0" fmla="*/ 73819 w 76200"/>
                <a:gd name="connsiteY0" fmla="*/ 64294 h 66675"/>
                <a:gd name="connsiteX1" fmla="*/ 59531 w 76200"/>
                <a:gd name="connsiteY1" fmla="*/ 64294 h 66675"/>
                <a:gd name="connsiteX2" fmla="*/ 54769 w 76200"/>
                <a:gd name="connsiteY2" fmla="*/ 53816 h 66675"/>
                <a:gd name="connsiteX3" fmla="*/ 25241 w 76200"/>
                <a:gd name="connsiteY3" fmla="*/ 53816 h 66675"/>
                <a:gd name="connsiteX4" fmla="*/ 21431 w 76200"/>
                <a:gd name="connsiteY4" fmla="*/ 64294 h 66675"/>
                <a:gd name="connsiteX5" fmla="*/ 7144 w 76200"/>
                <a:gd name="connsiteY5" fmla="*/ 64294 h 66675"/>
                <a:gd name="connsiteX6" fmla="*/ 33814 w 76200"/>
                <a:gd name="connsiteY6" fmla="*/ 7144 h 66675"/>
                <a:gd name="connsiteX7" fmla="*/ 46196 w 76200"/>
                <a:gd name="connsiteY7" fmla="*/ 7144 h 66675"/>
                <a:gd name="connsiteX8" fmla="*/ 73819 w 76200"/>
                <a:gd name="connsiteY8" fmla="*/ 64294 h 66675"/>
                <a:gd name="connsiteX9" fmla="*/ 73819 w 76200"/>
                <a:gd name="connsiteY9" fmla="*/ 64294 h 66675"/>
                <a:gd name="connsiteX10" fmla="*/ 73819 w 76200"/>
                <a:gd name="connsiteY10" fmla="*/ 64294 h 66675"/>
                <a:gd name="connsiteX11" fmla="*/ 39529 w 76200"/>
                <a:gd name="connsiteY11" fmla="*/ 20479 h 66675"/>
                <a:gd name="connsiteX12" fmla="*/ 30004 w 76200"/>
                <a:gd name="connsiteY12" fmla="*/ 42386 h 66675"/>
                <a:gd name="connsiteX13" fmla="*/ 49054 w 76200"/>
                <a:gd name="connsiteY13" fmla="*/ 42386 h 66675"/>
                <a:gd name="connsiteX14" fmla="*/ 39529 w 76200"/>
                <a:gd name="connsiteY14" fmla="*/ 20479 h 66675"/>
                <a:gd name="connsiteX15" fmla="*/ 39529 w 76200"/>
                <a:gd name="connsiteY15" fmla="*/ 20479 h 66675"/>
                <a:gd name="connsiteX16" fmla="*/ 39529 w 76200"/>
                <a:gd name="connsiteY16" fmla="*/ 20479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200" h="66675">
                  <a:moveTo>
                    <a:pt x="73819" y="64294"/>
                  </a:moveTo>
                  <a:lnTo>
                    <a:pt x="59531" y="64294"/>
                  </a:lnTo>
                  <a:lnTo>
                    <a:pt x="54769" y="53816"/>
                  </a:lnTo>
                  <a:lnTo>
                    <a:pt x="25241" y="53816"/>
                  </a:lnTo>
                  <a:lnTo>
                    <a:pt x="21431" y="64294"/>
                  </a:lnTo>
                  <a:lnTo>
                    <a:pt x="7144" y="64294"/>
                  </a:lnTo>
                  <a:lnTo>
                    <a:pt x="33814" y="7144"/>
                  </a:lnTo>
                  <a:lnTo>
                    <a:pt x="46196" y="7144"/>
                  </a:lnTo>
                  <a:lnTo>
                    <a:pt x="73819" y="64294"/>
                  </a:lnTo>
                  <a:lnTo>
                    <a:pt x="73819" y="64294"/>
                  </a:lnTo>
                  <a:lnTo>
                    <a:pt x="73819" y="64294"/>
                  </a:lnTo>
                  <a:close/>
                  <a:moveTo>
                    <a:pt x="39529" y="20479"/>
                  </a:moveTo>
                  <a:lnTo>
                    <a:pt x="30004" y="42386"/>
                  </a:lnTo>
                  <a:lnTo>
                    <a:pt x="49054" y="42386"/>
                  </a:lnTo>
                  <a:lnTo>
                    <a:pt x="39529" y="20479"/>
                  </a:lnTo>
                  <a:lnTo>
                    <a:pt x="39529" y="20479"/>
                  </a:lnTo>
                  <a:lnTo>
                    <a:pt x="39529" y="204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A9E886EC-142B-42FE-BC0A-70188B4692C4}"/>
                </a:ext>
              </a:extLst>
            </p:cNvPr>
            <p:cNvSpPr/>
            <p:nvPr userDrawn="1"/>
          </p:nvSpPr>
          <p:spPr>
            <a:xfrm>
              <a:off x="354806" y="715169"/>
              <a:ext cx="76200" cy="66675"/>
            </a:xfrm>
            <a:custGeom>
              <a:avLst/>
              <a:gdLst>
                <a:gd name="connsiteX0" fmla="*/ 73819 w 76200"/>
                <a:gd name="connsiteY0" fmla="*/ 64294 h 66675"/>
                <a:gd name="connsiteX1" fmla="*/ 59531 w 76200"/>
                <a:gd name="connsiteY1" fmla="*/ 64294 h 66675"/>
                <a:gd name="connsiteX2" fmla="*/ 54769 w 76200"/>
                <a:gd name="connsiteY2" fmla="*/ 53816 h 66675"/>
                <a:gd name="connsiteX3" fmla="*/ 25241 w 76200"/>
                <a:gd name="connsiteY3" fmla="*/ 53816 h 66675"/>
                <a:gd name="connsiteX4" fmla="*/ 21431 w 76200"/>
                <a:gd name="connsiteY4" fmla="*/ 64294 h 66675"/>
                <a:gd name="connsiteX5" fmla="*/ 7144 w 76200"/>
                <a:gd name="connsiteY5" fmla="*/ 64294 h 66675"/>
                <a:gd name="connsiteX6" fmla="*/ 33814 w 76200"/>
                <a:gd name="connsiteY6" fmla="*/ 7144 h 66675"/>
                <a:gd name="connsiteX7" fmla="*/ 46196 w 76200"/>
                <a:gd name="connsiteY7" fmla="*/ 7144 h 66675"/>
                <a:gd name="connsiteX8" fmla="*/ 73819 w 76200"/>
                <a:gd name="connsiteY8" fmla="*/ 64294 h 66675"/>
                <a:gd name="connsiteX9" fmla="*/ 73819 w 76200"/>
                <a:gd name="connsiteY9" fmla="*/ 64294 h 66675"/>
                <a:gd name="connsiteX10" fmla="*/ 73819 w 76200"/>
                <a:gd name="connsiteY10" fmla="*/ 64294 h 66675"/>
                <a:gd name="connsiteX11" fmla="*/ 39529 w 76200"/>
                <a:gd name="connsiteY11" fmla="*/ 20479 h 66675"/>
                <a:gd name="connsiteX12" fmla="*/ 30004 w 76200"/>
                <a:gd name="connsiteY12" fmla="*/ 42386 h 66675"/>
                <a:gd name="connsiteX13" fmla="*/ 49054 w 76200"/>
                <a:gd name="connsiteY13" fmla="*/ 42386 h 66675"/>
                <a:gd name="connsiteX14" fmla="*/ 39529 w 76200"/>
                <a:gd name="connsiteY14" fmla="*/ 20479 h 66675"/>
                <a:gd name="connsiteX15" fmla="*/ 39529 w 76200"/>
                <a:gd name="connsiteY15" fmla="*/ 20479 h 66675"/>
                <a:gd name="connsiteX16" fmla="*/ 39529 w 76200"/>
                <a:gd name="connsiteY16" fmla="*/ 20479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200" h="66675">
                  <a:moveTo>
                    <a:pt x="73819" y="64294"/>
                  </a:moveTo>
                  <a:lnTo>
                    <a:pt x="59531" y="64294"/>
                  </a:lnTo>
                  <a:lnTo>
                    <a:pt x="54769" y="53816"/>
                  </a:lnTo>
                  <a:lnTo>
                    <a:pt x="25241" y="53816"/>
                  </a:lnTo>
                  <a:lnTo>
                    <a:pt x="21431" y="64294"/>
                  </a:lnTo>
                  <a:lnTo>
                    <a:pt x="7144" y="64294"/>
                  </a:lnTo>
                  <a:lnTo>
                    <a:pt x="33814" y="7144"/>
                  </a:lnTo>
                  <a:lnTo>
                    <a:pt x="46196" y="7144"/>
                  </a:lnTo>
                  <a:lnTo>
                    <a:pt x="73819" y="64294"/>
                  </a:lnTo>
                  <a:lnTo>
                    <a:pt x="73819" y="64294"/>
                  </a:lnTo>
                  <a:lnTo>
                    <a:pt x="73819" y="64294"/>
                  </a:lnTo>
                  <a:close/>
                  <a:moveTo>
                    <a:pt x="39529" y="20479"/>
                  </a:moveTo>
                  <a:lnTo>
                    <a:pt x="30004" y="42386"/>
                  </a:lnTo>
                  <a:lnTo>
                    <a:pt x="49054" y="42386"/>
                  </a:lnTo>
                  <a:lnTo>
                    <a:pt x="39529" y="20479"/>
                  </a:lnTo>
                  <a:lnTo>
                    <a:pt x="39529" y="20479"/>
                  </a:lnTo>
                  <a:lnTo>
                    <a:pt x="39529" y="204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6F1155A9-C0F6-47C4-99BF-B9A0EF114394}"/>
                </a:ext>
              </a:extLst>
            </p:cNvPr>
            <p:cNvSpPr/>
            <p:nvPr userDrawn="1"/>
          </p:nvSpPr>
          <p:spPr>
            <a:xfrm>
              <a:off x="230981" y="781844"/>
              <a:ext cx="66675" cy="66675"/>
            </a:xfrm>
            <a:custGeom>
              <a:avLst/>
              <a:gdLst>
                <a:gd name="connsiteX0" fmla="*/ 20479 w 66675"/>
                <a:gd name="connsiteY0" fmla="*/ 29051 h 66675"/>
                <a:gd name="connsiteX1" fmla="*/ 44291 w 66675"/>
                <a:gd name="connsiteY1" fmla="*/ 29051 h 66675"/>
                <a:gd name="connsiteX2" fmla="*/ 49054 w 66675"/>
                <a:gd name="connsiteY2" fmla="*/ 24289 h 66675"/>
                <a:gd name="connsiteX3" fmla="*/ 44291 w 66675"/>
                <a:gd name="connsiteY3" fmla="*/ 19526 h 66675"/>
                <a:gd name="connsiteX4" fmla="*/ 20479 w 66675"/>
                <a:gd name="connsiteY4" fmla="*/ 19526 h 66675"/>
                <a:gd name="connsiteX5" fmla="*/ 20479 w 66675"/>
                <a:gd name="connsiteY5" fmla="*/ 29051 h 66675"/>
                <a:gd name="connsiteX6" fmla="*/ 20479 w 66675"/>
                <a:gd name="connsiteY6" fmla="*/ 29051 h 66675"/>
                <a:gd name="connsiteX7" fmla="*/ 20479 w 66675"/>
                <a:gd name="connsiteY7" fmla="*/ 29051 h 66675"/>
                <a:gd name="connsiteX8" fmla="*/ 20479 w 66675"/>
                <a:gd name="connsiteY8" fmla="*/ 51911 h 66675"/>
                <a:gd name="connsiteX9" fmla="*/ 45244 w 66675"/>
                <a:gd name="connsiteY9" fmla="*/ 51911 h 66675"/>
                <a:gd name="connsiteX10" fmla="*/ 50959 w 66675"/>
                <a:gd name="connsiteY10" fmla="*/ 46196 h 66675"/>
                <a:gd name="connsiteX11" fmla="*/ 45244 w 66675"/>
                <a:gd name="connsiteY11" fmla="*/ 40481 h 66675"/>
                <a:gd name="connsiteX12" fmla="*/ 20479 w 66675"/>
                <a:gd name="connsiteY12" fmla="*/ 40481 h 66675"/>
                <a:gd name="connsiteX13" fmla="*/ 20479 w 66675"/>
                <a:gd name="connsiteY13" fmla="*/ 51911 h 66675"/>
                <a:gd name="connsiteX14" fmla="*/ 20479 w 66675"/>
                <a:gd name="connsiteY14" fmla="*/ 51911 h 66675"/>
                <a:gd name="connsiteX15" fmla="*/ 20479 w 66675"/>
                <a:gd name="connsiteY15" fmla="*/ 51911 h 66675"/>
                <a:gd name="connsiteX16" fmla="*/ 58579 w 66675"/>
                <a:gd name="connsiteY16" fmla="*/ 34766 h 66675"/>
                <a:gd name="connsiteX17" fmla="*/ 64294 w 66675"/>
                <a:gd name="connsiteY17" fmla="*/ 47149 h 66675"/>
                <a:gd name="connsiteX18" fmla="*/ 47149 w 66675"/>
                <a:gd name="connsiteY18" fmla="*/ 64294 h 66675"/>
                <a:gd name="connsiteX19" fmla="*/ 7144 w 66675"/>
                <a:gd name="connsiteY19" fmla="*/ 64294 h 66675"/>
                <a:gd name="connsiteX20" fmla="*/ 7144 w 66675"/>
                <a:gd name="connsiteY20" fmla="*/ 7144 h 66675"/>
                <a:gd name="connsiteX21" fmla="*/ 46196 w 66675"/>
                <a:gd name="connsiteY21" fmla="*/ 7144 h 66675"/>
                <a:gd name="connsiteX22" fmla="*/ 62389 w 66675"/>
                <a:gd name="connsiteY22" fmla="*/ 24289 h 66675"/>
                <a:gd name="connsiteX23" fmla="*/ 58579 w 66675"/>
                <a:gd name="connsiteY23" fmla="*/ 34766 h 66675"/>
                <a:gd name="connsiteX24" fmla="*/ 58579 w 66675"/>
                <a:gd name="connsiteY24" fmla="*/ 3476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6675" h="66675">
                  <a:moveTo>
                    <a:pt x="20479" y="29051"/>
                  </a:moveTo>
                  <a:cubicBezTo>
                    <a:pt x="44291" y="29051"/>
                    <a:pt x="44291" y="29051"/>
                    <a:pt x="44291" y="29051"/>
                  </a:cubicBezTo>
                  <a:cubicBezTo>
                    <a:pt x="47149" y="29051"/>
                    <a:pt x="49054" y="27146"/>
                    <a:pt x="49054" y="24289"/>
                  </a:cubicBezTo>
                  <a:cubicBezTo>
                    <a:pt x="49054" y="21431"/>
                    <a:pt x="47149" y="19526"/>
                    <a:pt x="44291" y="19526"/>
                  </a:cubicBezTo>
                  <a:cubicBezTo>
                    <a:pt x="20479" y="19526"/>
                    <a:pt x="20479" y="19526"/>
                    <a:pt x="20479" y="19526"/>
                  </a:cubicBezTo>
                  <a:lnTo>
                    <a:pt x="20479" y="29051"/>
                  </a:lnTo>
                  <a:lnTo>
                    <a:pt x="20479" y="29051"/>
                  </a:lnTo>
                  <a:lnTo>
                    <a:pt x="20479" y="29051"/>
                  </a:lnTo>
                  <a:close/>
                  <a:moveTo>
                    <a:pt x="20479" y="51911"/>
                  </a:moveTo>
                  <a:cubicBezTo>
                    <a:pt x="45244" y="51911"/>
                    <a:pt x="45244" y="51911"/>
                    <a:pt x="45244" y="51911"/>
                  </a:cubicBezTo>
                  <a:cubicBezTo>
                    <a:pt x="48101" y="51911"/>
                    <a:pt x="50959" y="49054"/>
                    <a:pt x="50959" y="46196"/>
                  </a:cubicBezTo>
                  <a:cubicBezTo>
                    <a:pt x="50959" y="43339"/>
                    <a:pt x="48101" y="40481"/>
                    <a:pt x="45244" y="40481"/>
                  </a:cubicBezTo>
                  <a:cubicBezTo>
                    <a:pt x="20479" y="40481"/>
                    <a:pt x="20479" y="40481"/>
                    <a:pt x="20479" y="40481"/>
                  </a:cubicBezTo>
                  <a:lnTo>
                    <a:pt x="20479" y="51911"/>
                  </a:lnTo>
                  <a:lnTo>
                    <a:pt x="20479" y="51911"/>
                  </a:lnTo>
                  <a:lnTo>
                    <a:pt x="20479" y="51911"/>
                  </a:lnTo>
                  <a:close/>
                  <a:moveTo>
                    <a:pt x="58579" y="34766"/>
                  </a:moveTo>
                  <a:cubicBezTo>
                    <a:pt x="62389" y="37624"/>
                    <a:pt x="64294" y="42386"/>
                    <a:pt x="64294" y="47149"/>
                  </a:cubicBezTo>
                  <a:cubicBezTo>
                    <a:pt x="64294" y="56674"/>
                    <a:pt x="56674" y="64294"/>
                    <a:pt x="47149" y="64294"/>
                  </a:cubicBezTo>
                  <a:cubicBezTo>
                    <a:pt x="7144" y="64294"/>
                    <a:pt x="7144" y="64294"/>
                    <a:pt x="7144" y="64294"/>
                  </a:cubicBezTo>
                  <a:cubicBezTo>
                    <a:pt x="7144" y="7144"/>
                    <a:pt x="7144" y="7144"/>
                    <a:pt x="7144" y="7144"/>
                  </a:cubicBezTo>
                  <a:cubicBezTo>
                    <a:pt x="46196" y="7144"/>
                    <a:pt x="46196" y="7144"/>
                    <a:pt x="46196" y="7144"/>
                  </a:cubicBezTo>
                  <a:cubicBezTo>
                    <a:pt x="55721" y="7144"/>
                    <a:pt x="62389" y="14764"/>
                    <a:pt x="62389" y="24289"/>
                  </a:cubicBezTo>
                  <a:cubicBezTo>
                    <a:pt x="63341" y="28099"/>
                    <a:pt x="61436" y="31909"/>
                    <a:pt x="58579" y="34766"/>
                  </a:cubicBezTo>
                  <a:lnTo>
                    <a:pt x="58579" y="3476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D33EF171-34B2-4D3A-BF20-83AD0A832D27}"/>
                </a:ext>
              </a:extLst>
            </p:cNvPr>
            <p:cNvSpPr/>
            <p:nvPr userDrawn="1"/>
          </p:nvSpPr>
          <p:spPr>
            <a:xfrm>
              <a:off x="364331" y="848519"/>
              <a:ext cx="57150" cy="66675"/>
            </a:xfrm>
            <a:custGeom>
              <a:avLst/>
              <a:gdLst>
                <a:gd name="connsiteX0" fmla="*/ 54769 w 57150"/>
                <a:gd name="connsiteY0" fmla="*/ 7144 h 66675"/>
                <a:gd name="connsiteX1" fmla="*/ 54769 w 57150"/>
                <a:gd name="connsiteY1" fmla="*/ 18574 h 66675"/>
                <a:gd name="connsiteX2" fmla="*/ 19526 w 57150"/>
                <a:gd name="connsiteY2" fmla="*/ 18574 h 66675"/>
                <a:gd name="connsiteX3" fmla="*/ 19526 w 57150"/>
                <a:gd name="connsiteY3" fmla="*/ 29051 h 66675"/>
                <a:gd name="connsiteX4" fmla="*/ 52864 w 57150"/>
                <a:gd name="connsiteY4" fmla="*/ 29051 h 66675"/>
                <a:gd name="connsiteX5" fmla="*/ 52864 w 57150"/>
                <a:gd name="connsiteY5" fmla="*/ 40481 h 66675"/>
                <a:gd name="connsiteX6" fmla="*/ 19526 w 57150"/>
                <a:gd name="connsiteY6" fmla="*/ 40481 h 66675"/>
                <a:gd name="connsiteX7" fmla="*/ 19526 w 57150"/>
                <a:gd name="connsiteY7" fmla="*/ 52864 h 66675"/>
                <a:gd name="connsiteX8" fmla="*/ 54769 w 57150"/>
                <a:gd name="connsiteY8" fmla="*/ 52864 h 66675"/>
                <a:gd name="connsiteX9" fmla="*/ 54769 w 57150"/>
                <a:gd name="connsiteY9" fmla="*/ 64294 h 66675"/>
                <a:gd name="connsiteX10" fmla="*/ 7144 w 57150"/>
                <a:gd name="connsiteY10" fmla="*/ 64294 h 66675"/>
                <a:gd name="connsiteX11" fmla="*/ 7144 w 57150"/>
                <a:gd name="connsiteY11" fmla="*/ 7144 h 66675"/>
                <a:gd name="connsiteX12" fmla="*/ 54769 w 57150"/>
                <a:gd name="connsiteY12" fmla="*/ 7144 h 66675"/>
                <a:gd name="connsiteX13" fmla="*/ 54769 w 57150"/>
                <a:gd name="connsiteY13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66675">
                  <a:moveTo>
                    <a:pt x="54769" y="7144"/>
                  </a:moveTo>
                  <a:lnTo>
                    <a:pt x="54769" y="18574"/>
                  </a:lnTo>
                  <a:lnTo>
                    <a:pt x="19526" y="18574"/>
                  </a:lnTo>
                  <a:lnTo>
                    <a:pt x="19526" y="29051"/>
                  </a:lnTo>
                  <a:lnTo>
                    <a:pt x="52864" y="29051"/>
                  </a:lnTo>
                  <a:lnTo>
                    <a:pt x="52864" y="40481"/>
                  </a:lnTo>
                  <a:lnTo>
                    <a:pt x="19526" y="40481"/>
                  </a:lnTo>
                  <a:lnTo>
                    <a:pt x="19526" y="52864"/>
                  </a:lnTo>
                  <a:lnTo>
                    <a:pt x="54769" y="52864"/>
                  </a:lnTo>
                  <a:lnTo>
                    <a:pt x="54769" y="64294"/>
                  </a:lnTo>
                  <a:lnTo>
                    <a:pt x="7144" y="64294"/>
                  </a:lnTo>
                  <a:lnTo>
                    <a:pt x="7144" y="7144"/>
                  </a:lnTo>
                  <a:lnTo>
                    <a:pt x="54769" y="7144"/>
                  </a:lnTo>
                  <a:lnTo>
                    <a:pt x="54769" y="71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25FFD001-3191-4377-BCA1-AD94B36F0404}"/>
                </a:ext>
              </a:extLst>
            </p:cNvPr>
            <p:cNvSpPr/>
            <p:nvPr userDrawn="1"/>
          </p:nvSpPr>
          <p:spPr>
            <a:xfrm>
              <a:off x="364331" y="915194"/>
              <a:ext cx="66675" cy="66675"/>
            </a:xfrm>
            <a:custGeom>
              <a:avLst/>
              <a:gdLst>
                <a:gd name="connsiteX0" fmla="*/ 46196 w 66675"/>
                <a:gd name="connsiteY0" fmla="*/ 25241 h 66675"/>
                <a:gd name="connsiteX1" fmla="*/ 41434 w 66675"/>
                <a:gd name="connsiteY1" fmla="*/ 19526 h 66675"/>
                <a:gd name="connsiteX2" fmla="*/ 20479 w 66675"/>
                <a:gd name="connsiteY2" fmla="*/ 19526 h 66675"/>
                <a:gd name="connsiteX3" fmla="*/ 20479 w 66675"/>
                <a:gd name="connsiteY3" fmla="*/ 30004 h 66675"/>
                <a:gd name="connsiteX4" fmla="*/ 41434 w 66675"/>
                <a:gd name="connsiteY4" fmla="*/ 30004 h 66675"/>
                <a:gd name="connsiteX5" fmla="*/ 46196 w 66675"/>
                <a:gd name="connsiteY5" fmla="*/ 25241 h 66675"/>
                <a:gd name="connsiteX6" fmla="*/ 46196 w 66675"/>
                <a:gd name="connsiteY6" fmla="*/ 25241 h 66675"/>
                <a:gd name="connsiteX7" fmla="*/ 7144 w 66675"/>
                <a:gd name="connsiteY7" fmla="*/ 64294 h 66675"/>
                <a:gd name="connsiteX8" fmla="*/ 7144 w 66675"/>
                <a:gd name="connsiteY8" fmla="*/ 7144 h 66675"/>
                <a:gd name="connsiteX9" fmla="*/ 42386 w 66675"/>
                <a:gd name="connsiteY9" fmla="*/ 7144 h 66675"/>
                <a:gd name="connsiteX10" fmla="*/ 58579 w 66675"/>
                <a:gd name="connsiteY10" fmla="*/ 25241 h 66675"/>
                <a:gd name="connsiteX11" fmla="*/ 48101 w 66675"/>
                <a:gd name="connsiteY11" fmla="*/ 41434 h 66675"/>
                <a:gd name="connsiteX12" fmla="*/ 64294 w 66675"/>
                <a:gd name="connsiteY12" fmla="*/ 64294 h 66675"/>
                <a:gd name="connsiteX13" fmla="*/ 49054 w 66675"/>
                <a:gd name="connsiteY13" fmla="*/ 64294 h 66675"/>
                <a:gd name="connsiteX14" fmla="*/ 33814 w 66675"/>
                <a:gd name="connsiteY14" fmla="*/ 42386 h 66675"/>
                <a:gd name="connsiteX15" fmla="*/ 19526 w 66675"/>
                <a:gd name="connsiteY15" fmla="*/ 42386 h 66675"/>
                <a:gd name="connsiteX16" fmla="*/ 19526 w 66675"/>
                <a:gd name="connsiteY16" fmla="*/ 64294 h 66675"/>
                <a:gd name="connsiteX17" fmla="*/ 7144 w 66675"/>
                <a:gd name="connsiteY17" fmla="*/ 64294 h 66675"/>
                <a:gd name="connsiteX18" fmla="*/ 7144 w 66675"/>
                <a:gd name="connsiteY18" fmla="*/ 64294 h 66675"/>
                <a:gd name="connsiteX19" fmla="*/ 7144 w 66675"/>
                <a:gd name="connsiteY19" fmla="*/ 6429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6675" h="66675">
                  <a:moveTo>
                    <a:pt x="46196" y="25241"/>
                  </a:moveTo>
                  <a:cubicBezTo>
                    <a:pt x="46196" y="22384"/>
                    <a:pt x="44291" y="19526"/>
                    <a:pt x="41434" y="19526"/>
                  </a:cubicBezTo>
                  <a:cubicBezTo>
                    <a:pt x="20479" y="19526"/>
                    <a:pt x="20479" y="19526"/>
                    <a:pt x="20479" y="19526"/>
                  </a:cubicBezTo>
                  <a:cubicBezTo>
                    <a:pt x="20479" y="30004"/>
                    <a:pt x="20479" y="30004"/>
                    <a:pt x="20479" y="30004"/>
                  </a:cubicBezTo>
                  <a:cubicBezTo>
                    <a:pt x="41434" y="30004"/>
                    <a:pt x="41434" y="30004"/>
                    <a:pt x="41434" y="30004"/>
                  </a:cubicBezTo>
                  <a:cubicBezTo>
                    <a:pt x="43339" y="30004"/>
                    <a:pt x="46196" y="28099"/>
                    <a:pt x="46196" y="25241"/>
                  </a:cubicBezTo>
                  <a:lnTo>
                    <a:pt x="46196" y="25241"/>
                  </a:lnTo>
                  <a:close/>
                  <a:moveTo>
                    <a:pt x="7144" y="64294"/>
                  </a:moveTo>
                  <a:cubicBezTo>
                    <a:pt x="7144" y="7144"/>
                    <a:pt x="7144" y="7144"/>
                    <a:pt x="7144" y="7144"/>
                  </a:cubicBezTo>
                  <a:cubicBezTo>
                    <a:pt x="42386" y="7144"/>
                    <a:pt x="42386" y="7144"/>
                    <a:pt x="42386" y="7144"/>
                  </a:cubicBezTo>
                  <a:cubicBezTo>
                    <a:pt x="51911" y="7144"/>
                    <a:pt x="58579" y="14764"/>
                    <a:pt x="58579" y="25241"/>
                  </a:cubicBezTo>
                  <a:cubicBezTo>
                    <a:pt x="58579" y="32861"/>
                    <a:pt x="54769" y="39529"/>
                    <a:pt x="48101" y="41434"/>
                  </a:cubicBezTo>
                  <a:cubicBezTo>
                    <a:pt x="64294" y="64294"/>
                    <a:pt x="64294" y="64294"/>
                    <a:pt x="64294" y="64294"/>
                  </a:cubicBezTo>
                  <a:cubicBezTo>
                    <a:pt x="49054" y="64294"/>
                    <a:pt x="49054" y="64294"/>
                    <a:pt x="49054" y="64294"/>
                  </a:cubicBezTo>
                  <a:cubicBezTo>
                    <a:pt x="33814" y="42386"/>
                    <a:pt x="33814" y="42386"/>
                    <a:pt x="33814" y="42386"/>
                  </a:cubicBezTo>
                  <a:cubicBezTo>
                    <a:pt x="19526" y="42386"/>
                    <a:pt x="19526" y="42386"/>
                    <a:pt x="19526" y="42386"/>
                  </a:cubicBezTo>
                  <a:cubicBezTo>
                    <a:pt x="19526" y="64294"/>
                    <a:pt x="19526" y="64294"/>
                    <a:pt x="19526" y="64294"/>
                  </a:cubicBezTo>
                  <a:lnTo>
                    <a:pt x="7144" y="64294"/>
                  </a:lnTo>
                  <a:lnTo>
                    <a:pt x="7144" y="64294"/>
                  </a:lnTo>
                  <a:lnTo>
                    <a:pt x="7144" y="6429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/>
            </a:p>
          </p:txBody>
        </p:sp>
      </p:grp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2D8F449-5F28-4B15-9615-845AD3FD58DB}"/>
              </a:ext>
            </a:extLst>
          </p:cNvPr>
          <p:cNvCxnSpPr/>
          <p:nvPr userDrawn="1"/>
        </p:nvCxnSpPr>
        <p:spPr bwMode="gray">
          <a:xfrm flipV="1">
            <a:off x="2826260" y="-15244"/>
            <a:ext cx="1880500" cy="515970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MIO_VALID_LAYOUT" hidden="1">
            <a:extLst>
              <a:ext uri="{FF2B5EF4-FFF2-40B4-BE49-F238E27FC236}">
                <a16:creationId xmlns:a16="http://schemas.microsoft.com/office/drawing/2014/main" id="{BD7A02AC-C254-4261-A2B3-584110FA83D0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</p:spTree>
    <p:extLst>
      <p:ext uri="{BB962C8B-B14F-4D97-AF65-F5344CB8AC3E}">
        <p14:creationId xmlns:p14="http://schemas.microsoft.com/office/powerpoint/2010/main" val="39425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(4)">
    <p:bg>
      <p:bgPr>
        <a:gradFill>
          <a:gsLst>
            <a:gs pos="0">
              <a:srgbClr val="00617F"/>
            </a:gs>
            <a:gs pos="33000">
              <a:srgbClr val="00617F"/>
            </a:gs>
            <a:gs pos="72000">
              <a:srgbClr val="10384F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blackGray">
          <a:xfrm>
            <a:off x="736462" y="853724"/>
            <a:ext cx="3917107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bg1"/>
                </a:solidFill>
              </a:defRPr>
            </a:lvl1pPr>
            <a:lvl2pPr marL="0" indent="0" algn="l">
              <a:buNone/>
              <a:defRPr sz="1350">
                <a:solidFill>
                  <a:schemeClr val="bg1"/>
                </a:solidFill>
              </a:defRPr>
            </a:lvl2pPr>
            <a:lvl3pPr marL="0" indent="0" algn="l">
              <a:buNone/>
              <a:defRPr sz="1350">
                <a:solidFill>
                  <a:schemeClr val="bg1"/>
                </a:solidFill>
              </a:defRPr>
            </a:lvl3pPr>
            <a:lvl4pPr marL="0" indent="0" algn="l">
              <a:buNone/>
              <a:defRPr sz="1350">
                <a:solidFill>
                  <a:schemeClr val="bg1"/>
                </a:solidFill>
              </a:defRPr>
            </a:lvl4pPr>
            <a:lvl5pPr marL="0" indent="0" algn="l">
              <a:buNone/>
              <a:defRPr sz="1350">
                <a:solidFill>
                  <a:schemeClr val="bg1"/>
                </a:solidFill>
              </a:defRPr>
            </a:lvl5pPr>
            <a:lvl6pPr marL="0" indent="0" algn="l">
              <a:buNone/>
              <a:defRPr sz="1350">
                <a:solidFill>
                  <a:schemeClr val="bg1"/>
                </a:solidFill>
              </a:defRPr>
            </a:lvl6pPr>
            <a:lvl7pPr marL="0" indent="0" algn="l">
              <a:buNone/>
              <a:defRPr sz="1350">
                <a:solidFill>
                  <a:schemeClr val="bg1"/>
                </a:solidFill>
              </a:defRPr>
            </a:lvl7pPr>
            <a:lvl8pPr marL="0" indent="0" algn="l">
              <a:buNone/>
              <a:defRPr sz="1350">
                <a:solidFill>
                  <a:schemeClr val="bg1"/>
                </a:solidFill>
              </a:defRPr>
            </a:lvl8pPr>
            <a:lvl9pPr marL="0" indent="0" algn="l">
              <a:buNone/>
              <a:defRPr sz="13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736461" y="136454"/>
            <a:ext cx="3914355" cy="648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47097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blackGray"/>
        <p:txBody>
          <a:bodyPr/>
          <a:lstStyle/>
          <a:p>
            <a:fld id="{62360238-FF2B-42B4-8CF1-A51C22C2E70C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0162F328-3196-4A72-A79E-826433EC45C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blackGray">
          <a:xfrm>
            <a:off x="466701" y="1645224"/>
            <a:ext cx="2425720" cy="2430000"/>
          </a:xfrm>
          <a:custGeom>
            <a:avLst/>
            <a:gdLst>
              <a:gd name="connsiteX0" fmla="*/ 216 w 3233873"/>
              <a:gd name="connsiteY0" fmla="*/ 3238918 h 3240000"/>
              <a:gd name="connsiteX1" fmla="*/ 5630 w 3233873"/>
              <a:gd name="connsiteY1" fmla="*/ 3240000 h 3240000"/>
              <a:gd name="connsiteX2" fmla="*/ 0 w 3233873"/>
              <a:gd name="connsiteY2" fmla="*/ 3240000 h 3240000"/>
              <a:gd name="connsiteX3" fmla="*/ 654873 w 3233873"/>
              <a:gd name="connsiteY3" fmla="*/ 0 h 3240000"/>
              <a:gd name="connsiteX4" fmla="*/ 3233873 w 3233873"/>
              <a:gd name="connsiteY4" fmla="*/ 0 h 3240000"/>
              <a:gd name="connsiteX5" fmla="*/ 2586446 w 3233873"/>
              <a:gd name="connsiteY5" fmla="*/ 3240000 h 3240000"/>
              <a:gd name="connsiteX6" fmla="*/ 7447 w 3233873"/>
              <a:gd name="connsiteY6" fmla="*/ 3240000 h 32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3873" h="3240000">
                <a:moveTo>
                  <a:pt x="216" y="3238918"/>
                </a:moveTo>
                <a:lnTo>
                  <a:pt x="5630" y="3240000"/>
                </a:lnTo>
                <a:lnTo>
                  <a:pt x="0" y="3240000"/>
                </a:lnTo>
                <a:close/>
                <a:moveTo>
                  <a:pt x="654873" y="0"/>
                </a:moveTo>
                <a:lnTo>
                  <a:pt x="3233873" y="0"/>
                </a:lnTo>
                <a:lnTo>
                  <a:pt x="2586446" y="3240000"/>
                </a:lnTo>
                <a:lnTo>
                  <a:pt x="7447" y="3240000"/>
                </a:lnTo>
                <a:close/>
              </a:path>
            </a:pathLst>
          </a:custGeom>
        </p:spPr>
        <p:txBody>
          <a:bodyPr wrap="square" tIns="684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50" name="Picture Placeholder 49">
            <a:extLst>
              <a:ext uri="{FF2B5EF4-FFF2-40B4-BE49-F238E27FC236}">
                <a16:creationId xmlns:a16="http://schemas.microsoft.com/office/drawing/2014/main" id="{7751AF13-053D-43FA-B728-7364D8E627B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blackGray">
          <a:xfrm>
            <a:off x="2264814" y="2424520"/>
            <a:ext cx="2414238" cy="2430000"/>
          </a:xfrm>
          <a:custGeom>
            <a:avLst/>
            <a:gdLst>
              <a:gd name="connsiteX0" fmla="*/ 647426 w 3218565"/>
              <a:gd name="connsiteY0" fmla="*/ 0 h 3240000"/>
              <a:gd name="connsiteX1" fmla="*/ 3218565 w 3218565"/>
              <a:gd name="connsiteY1" fmla="*/ 0 h 3240000"/>
              <a:gd name="connsiteX2" fmla="*/ 2571517 w 3218565"/>
              <a:gd name="connsiteY2" fmla="*/ 3238102 h 3240000"/>
              <a:gd name="connsiteX3" fmla="*/ 2581018 w 3218565"/>
              <a:gd name="connsiteY3" fmla="*/ 3240000 h 3240000"/>
              <a:gd name="connsiteX4" fmla="*/ 0 w 3218565"/>
              <a:gd name="connsiteY4" fmla="*/ 3240000 h 32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18565" h="3240000">
                <a:moveTo>
                  <a:pt x="647426" y="0"/>
                </a:moveTo>
                <a:lnTo>
                  <a:pt x="3218565" y="0"/>
                </a:lnTo>
                <a:lnTo>
                  <a:pt x="2571517" y="3238102"/>
                </a:lnTo>
                <a:lnTo>
                  <a:pt x="2581018" y="3240000"/>
                </a:lnTo>
                <a:lnTo>
                  <a:pt x="0" y="3240000"/>
                </a:lnTo>
                <a:close/>
              </a:path>
            </a:pathLst>
          </a:custGeom>
        </p:spPr>
        <p:txBody>
          <a:bodyPr wrap="square" tIns="684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956EDA78-1B82-47AD-BA23-289A2D60642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blackGray">
          <a:xfrm>
            <a:off x="4320726" y="1873824"/>
            <a:ext cx="2422707" cy="2430000"/>
          </a:xfrm>
          <a:custGeom>
            <a:avLst/>
            <a:gdLst>
              <a:gd name="connsiteX0" fmla="*/ 647125 w 3229855"/>
              <a:gd name="connsiteY0" fmla="*/ 0 h 3240000"/>
              <a:gd name="connsiteX1" fmla="*/ 3229855 w 3229855"/>
              <a:gd name="connsiteY1" fmla="*/ 0 h 3240000"/>
              <a:gd name="connsiteX2" fmla="*/ 2582428 w 3229855"/>
              <a:gd name="connsiteY2" fmla="*/ 3240000 h 3240000"/>
              <a:gd name="connsiteX3" fmla="*/ 0 w 3229855"/>
              <a:gd name="connsiteY3" fmla="*/ 3240000 h 32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29855" h="3240000">
                <a:moveTo>
                  <a:pt x="647125" y="0"/>
                </a:moveTo>
                <a:lnTo>
                  <a:pt x="3229855" y="0"/>
                </a:lnTo>
                <a:lnTo>
                  <a:pt x="2582428" y="3240000"/>
                </a:lnTo>
                <a:lnTo>
                  <a:pt x="0" y="3240000"/>
                </a:lnTo>
                <a:close/>
              </a:path>
            </a:pathLst>
          </a:custGeom>
        </p:spPr>
        <p:txBody>
          <a:bodyPr wrap="square" tIns="684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F66AF24C-A1FA-4D40-A8D0-98A5B17D974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blackGray">
          <a:xfrm>
            <a:off x="6502770" y="716939"/>
            <a:ext cx="2426107" cy="2430000"/>
          </a:xfrm>
          <a:custGeom>
            <a:avLst/>
            <a:gdLst>
              <a:gd name="connsiteX0" fmla="*/ 647426 w 3234388"/>
              <a:gd name="connsiteY0" fmla="*/ 0 h 3240000"/>
              <a:gd name="connsiteX1" fmla="*/ 3234388 w 3234388"/>
              <a:gd name="connsiteY1" fmla="*/ 0 h 3240000"/>
              <a:gd name="connsiteX2" fmla="*/ 2587133 w 3234388"/>
              <a:gd name="connsiteY2" fmla="*/ 3239143 h 3240000"/>
              <a:gd name="connsiteX3" fmla="*/ 2588614 w 3234388"/>
              <a:gd name="connsiteY3" fmla="*/ 3239439 h 3240000"/>
              <a:gd name="connsiteX4" fmla="*/ 2588502 w 3234388"/>
              <a:gd name="connsiteY4" fmla="*/ 3240000 h 3240000"/>
              <a:gd name="connsiteX5" fmla="*/ 0 w 3234388"/>
              <a:gd name="connsiteY5" fmla="*/ 3240000 h 32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34388" h="3240000">
                <a:moveTo>
                  <a:pt x="647426" y="0"/>
                </a:moveTo>
                <a:lnTo>
                  <a:pt x="3234388" y="0"/>
                </a:lnTo>
                <a:lnTo>
                  <a:pt x="2587133" y="3239143"/>
                </a:lnTo>
                <a:lnTo>
                  <a:pt x="2588614" y="3239439"/>
                </a:lnTo>
                <a:lnTo>
                  <a:pt x="2588502" y="3240000"/>
                </a:lnTo>
                <a:lnTo>
                  <a:pt x="0" y="3240000"/>
                </a:lnTo>
                <a:close/>
              </a:path>
            </a:pathLst>
          </a:custGeom>
        </p:spPr>
        <p:txBody>
          <a:bodyPr wrap="square" tIns="684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1A61820-7E8A-4ECF-BB59-0E041E3E55D1}"/>
              </a:ext>
            </a:extLst>
          </p:cNvPr>
          <p:cNvSpPr/>
          <p:nvPr userDrawn="1"/>
        </p:nvSpPr>
        <p:spPr bwMode="gray">
          <a:xfrm rot="678011">
            <a:off x="701733" y="1619588"/>
            <a:ext cx="13502" cy="24786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2984902-A9B9-4D7F-BD2B-BF6B6219C02A}"/>
              </a:ext>
            </a:extLst>
          </p:cNvPr>
          <p:cNvSpPr/>
          <p:nvPr userDrawn="1"/>
        </p:nvSpPr>
        <p:spPr bwMode="gray">
          <a:xfrm rot="678011">
            <a:off x="8686112" y="693044"/>
            <a:ext cx="13502" cy="24786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9053A2E9-114E-45FA-8870-EF266F5E6BC8}"/>
              </a:ext>
            </a:extLst>
          </p:cNvPr>
          <p:cNvSpPr/>
          <p:nvPr userDrawn="1"/>
        </p:nvSpPr>
        <p:spPr bwMode="gray">
          <a:xfrm rot="678011">
            <a:off x="6603478" y="-55015"/>
            <a:ext cx="13502" cy="52596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6D33EB3-7D26-4200-9DCD-FFCF11E88BD5}"/>
              </a:ext>
            </a:extLst>
          </p:cNvPr>
          <p:cNvSpPr/>
          <p:nvPr userDrawn="1"/>
        </p:nvSpPr>
        <p:spPr bwMode="gray">
          <a:xfrm rot="678011">
            <a:off x="4679050" y="-52058"/>
            <a:ext cx="13502" cy="4954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06CA2D8-99E8-4AB9-AAE1-664120A159BC}"/>
              </a:ext>
            </a:extLst>
          </p:cNvPr>
          <p:cNvSpPr/>
          <p:nvPr userDrawn="1"/>
        </p:nvSpPr>
        <p:spPr bwMode="gray">
          <a:xfrm rot="678011">
            <a:off x="2542096" y="1610083"/>
            <a:ext cx="13502" cy="3577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7" name="MIO_VALID_LAYOUT" hidden="1">
            <a:extLst>
              <a:ext uri="{FF2B5EF4-FFF2-40B4-BE49-F238E27FC236}">
                <a16:creationId xmlns:a16="http://schemas.microsoft.com/office/drawing/2014/main" id="{4D11767A-98B7-4DE1-BF50-4C80130DD1F6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8" name="Logoschutz" hidden="1">
            <a:extLst>
              <a:ext uri="{FF2B5EF4-FFF2-40B4-BE49-F238E27FC236}">
                <a16:creationId xmlns:a16="http://schemas.microsoft.com/office/drawing/2014/main" id="{1F4FF383-F8D3-4EA5-84E4-98AA7DFCEDB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737622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2 (4)">
    <p:bg>
      <p:bgPr>
        <a:gradFill>
          <a:gsLst>
            <a:gs pos="0">
              <a:srgbClr val="2B6636"/>
            </a:gs>
            <a:gs pos="33000">
              <a:srgbClr val="2B6636"/>
            </a:gs>
            <a:gs pos="72000">
              <a:srgbClr val="66B512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blackGray">
          <a:xfrm>
            <a:off x="736462" y="853724"/>
            <a:ext cx="3917107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bg1"/>
                </a:solidFill>
              </a:defRPr>
            </a:lvl1pPr>
            <a:lvl2pPr marL="0" indent="0" algn="l">
              <a:buNone/>
              <a:defRPr sz="1350">
                <a:solidFill>
                  <a:schemeClr val="bg1"/>
                </a:solidFill>
              </a:defRPr>
            </a:lvl2pPr>
            <a:lvl3pPr marL="0" indent="0" algn="l">
              <a:buNone/>
              <a:defRPr sz="1350">
                <a:solidFill>
                  <a:schemeClr val="bg1"/>
                </a:solidFill>
              </a:defRPr>
            </a:lvl3pPr>
            <a:lvl4pPr marL="0" indent="0" algn="l">
              <a:buNone/>
              <a:defRPr sz="1350">
                <a:solidFill>
                  <a:schemeClr val="bg1"/>
                </a:solidFill>
              </a:defRPr>
            </a:lvl4pPr>
            <a:lvl5pPr marL="0" indent="0" algn="l">
              <a:buNone/>
              <a:defRPr sz="1350">
                <a:solidFill>
                  <a:schemeClr val="bg1"/>
                </a:solidFill>
              </a:defRPr>
            </a:lvl5pPr>
            <a:lvl6pPr marL="0" indent="0" algn="l">
              <a:buNone/>
              <a:defRPr sz="1350">
                <a:solidFill>
                  <a:schemeClr val="bg1"/>
                </a:solidFill>
              </a:defRPr>
            </a:lvl6pPr>
            <a:lvl7pPr marL="0" indent="0" algn="l">
              <a:buNone/>
              <a:defRPr sz="1350">
                <a:solidFill>
                  <a:schemeClr val="bg1"/>
                </a:solidFill>
              </a:defRPr>
            </a:lvl7pPr>
            <a:lvl8pPr marL="0" indent="0" algn="l">
              <a:buNone/>
              <a:defRPr sz="1350">
                <a:solidFill>
                  <a:schemeClr val="bg1"/>
                </a:solidFill>
              </a:defRPr>
            </a:lvl8pPr>
            <a:lvl9pPr marL="0" indent="0" algn="l">
              <a:buNone/>
              <a:defRPr sz="13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736461" y="136454"/>
            <a:ext cx="3914355" cy="64800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47097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blackGray"/>
        <p:txBody>
          <a:bodyPr/>
          <a:lstStyle/>
          <a:p>
            <a:fld id="{44F2ABB0-E40F-42E4-B84E-615D18FAA3CC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753DF268-9522-4FDD-925B-786EDA7973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blackGray">
          <a:xfrm>
            <a:off x="466701" y="1645224"/>
            <a:ext cx="2425720" cy="2430000"/>
          </a:xfrm>
          <a:custGeom>
            <a:avLst/>
            <a:gdLst>
              <a:gd name="connsiteX0" fmla="*/ 216 w 3233873"/>
              <a:gd name="connsiteY0" fmla="*/ 3238918 h 3240000"/>
              <a:gd name="connsiteX1" fmla="*/ 5630 w 3233873"/>
              <a:gd name="connsiteY1" fmla="*/ 3240000 h 3240000"/>
              <a:gd name="connsiteX2" fmla="*/ 0 w 3233873"/>
              <a:gd name="connsiteY2" fmla="*/ 3240000 h 3240000"/>
              <a:gd name="connsiteX3" fmla="*/ 654873 w 3233873"/>
              <a:gd name="connsiteY3" fmla="*/ 0 h 3240000"/>
              <a:gd name="connsiteX4" fmla="*/ 3233873 w 3233873"/>
              <a:gd name="connsiteY4" fmla="*/ 0 h 3240000"/>
              <a:gd name="connsiteX5" fmla="*/ 2586446 w 3233873"/>
              <a:gd name="connsiteY5" fmla="*/ 3240000 h 3240000"/>
              <a:gd name="connsiteX6" fmla="*/ 7447 w 3233873"/>
              <a:gd name="connsiteY6" fmla="*/ 3240000 h 32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3873" h="3240000">
                <a:moveTo>
                  <a:pt x="216" y="3238918"/>
                </a:moveTo>
                <a:lnTo>
                  <a:pt x="5630" y="3240000"/>
                </a:lnTo>
                <a:lnTo>
                  <a:pt x="0" y="3240000"/>
                </a:lnTo>
                <a:close/>
                <a:moveTo>
                  <a:pt x="654873" y="0"/>
                </a:moveTo>
                <a:lnTo>
                  <a:pt x="3233873" y="0"/>
                </a:lnTo>
                <a:lnTo>
                  <a:pt x="2586446" y="3240000"/>
                </a:lnTo>
                <a:lnTo>
                  <a:pt x="7447" y="3240000"/>
                </a:lnTo>
                <a:close/>
              </a:path>
            </a:pathLst>
          </a:custGeom>
        </p:spPr>
        <p:txBody>
          <a:bodyPr wrap="square" tIns="684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5910586A-CD5E-4E16-BE26-E4883C3BA0F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blackGray">
          <a:xfrm>
            <a:off x="2264814" y="2424520"/>
            <a:ext cx="2414238" cy="2430000"/>
          </a:xfrm>
          <a:custGeom>
            <a:avLst/>
            <a:gdLst>
              <a:gd name="connsiteX0" fmla="*/ 647426 w 3218565"/>
              <a:gd name="connsiteY0" fmla="*/ 0 h 3240000"/>
              <a:gd name="connsiteX1" fmla="*/ 3218565 w 3218565"/>
              <a:gd name="connsiteY1" fmla="*/ 0 h 3240000"/>
              <a:gd name="connsiteX2" fmla="*/ 2571517 w 3218565"/>
              <a:gd name="connsiteY2" fmla="*/ 3238102 h 3240000"/>
              <a:gd name="connsiteX3" fmla="*/ 2581018 w 3218565"/>
              <a:gd name="connsiteY3" fmla="*/ 3240000 h 3240000"/>
              <a:gd name="connsiteX4" fmla="*/ 0 w 3218565"/>
              <a:gd name="connsiteY4" fmla="*/ 3240000 h 32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18565" h="3240000">
                <a:moveTo>
                  <a:pt x="647426" y="0"/>
                </a:moveTo>
                <a:lnTo>
                  <a:pt x="3218565" y="0"/>
                </a:lnTo>
                <a:lnTo>
                  <a:pt x="2571517" y="3238102"/>
                </a:lnTo>
                <a:lnTo>
                  <a:pt x="2581018" y="3240000"/>
                </a:lnTo>
                <a:lnTo>
                  <a:pt x="0" y="3240000"/>
                </a:lnTo>
                <a:close/>
              </a:path>
            </a:pathLst>
          </a:custGeom>
        </p:spPr>
        <p:txBody>
          <a:bodyPr wrap="square" tIns="684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F5F80CC2-C6E1-47BD-9EAE-2E75BE20CA9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blackGray">
          <a:xfrm>
            <a:off x="4320726" y="1873824"/>
            <a:ext cx="2422707" cy="2430000"/>
          </a:xfrm>
          <a:custGeom>
            <a:avLst/>
            <a:gdLst>
              <a:gd name="connsiteX0" fmla="*/ 647125 w 3229855"/>
              <a:gd name="connsiteY0" fmla="*/ 0 h 3240000"/>
              <a:gd name="connsiteX1" fmla="*/ 3229855 w 3229855"/>
              <a:gd name="connsiteY1" fmla="*/ 0 h 3240000"/>
              <a:gd name="connsiteX2" fmla="*/ 2582428 w 3229855"/>
              <a:gd name="connsiteY2" fmla="*/ 3240000 h 3240000"/>
              <a:gd name="connsiteX3" fmla="*/ 0 w 3229855"/>
              <a:gd name="connsiteY3" fmla="*/ 3240000 h 32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29855" h="3240000">
                <a:moveTo>
                  <a:pt x="647125" y="0"/>
                </a:moveTo>
                <a:lnTo>
                  <a:pt x="3229855" y="0"/>
                </a:lnTo>
                <a:lnTo>
                  <a:pt x="2582428" y="3240000"/>
                </a:lnTo>
                <a:lnTo>
                  <a:pt x="0" y="3240000"/>
                </a:lnTo>
                <a:close/>
              </a:path>
            </a:pathLst>
          </a:custGeom>
        </p:spPr>
        <p:txBody>
          <a:bodyPr wrap="square" tIns="684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D9CBDB73-4B04-469D-8078-60209F73A37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blackGray">
          <a:xfrm>
            <a:off x="6502770" y="716939"/>
            <a:ext cx="2426107" cy="2430000"/>
          </a:xfrm>
          <a:custGeom>
            <a:avLst/>
            <a:gdLst>
              <a:gd name="connsiteX0" fmla="*/ 647426 w 3234388"/>
              <a:gd name="connsiteY0" fmla="*/ 0 h 3240000"/>
              <a:gd name="connsiteX1" fmla="*/ 3234388 w 3234388"/>
              <a:gd name="connsiteY1" fmla="*/ 0 h 3240000"/>
              <a:gd name="connsiteX2" fmla="*/ 2587133 w 3234388"/>
              <a:gd name="connsiteY2" fmla="*/ 3239143 h 3240000"/>
              <a:gd name="connsiteX3" fmla="*/ 2588614 w 3234388"/>
              <a:gd name="connsiteY3" fmla="*/ 3239439 h 3240000"/>
              <a:gd name="connsiteX4" fmla="*/ 2588502 w 3234388"/>
              <a:gd name="connsiteY4" fmla="*/ 3240000 h 3240000"/>
              <a:gd name="connsiteX5" fmla="*/ 0 w 3234388"/>
              <a:gd name="connsiteY5" fmla="*/ 3240000 h 32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34388" h="3240000">
                <a:moveTo>
                  <a:pt x="647426" y="0"/>
                </a:moveTo>
                <a:lnTo>
                  <a:pt x="3234388" y="0"/>
                </a:lnTo>
                <a:lnTo>
                  <a:pt x="2587133" y="3239143"/>
                </a:lnTo>
                <a:lnTo>
                  <a:pt x="2588614" y="3239439"/>
                </a:lnTo>
                <a:lnTo>
                  <a:pt x="2588502" y="3240000"/>
                </a:lnTo>
                <a:lnTo>
                  <a:pt x="0" y="3240000"/>
                </a:lnTo>
                <a:close/>
              </a:path>
            </a:pathLst>
          </a:custGeom>
        </p:spPr>
        <p:txBody>
          <a:bodyPr wrap="square" tIns="684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7C33222-326F-4139-B660-D80117E51A31}"/>
              </a:ext>
            </a:extLst>
          </p:cNvPr>
          <p:cNvSpPr/>
          <p:nvPr userDrawn="1"/>
        </p:nvSpPr>
        <p:spPr bwMode="gray">
          <a:xfrm rot="678011">
            <a:off x="701733" y="1619588"/>
            <a:ext cx="13502" cy="2478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6C798F6-CA5C-4643-94EB-8FADA486612C}"/>
              </a:ext>
            </a:extLst>
          </p:cNvPr>
          <p:cNvSpPr/>
          <p:nvPr userDrawn="1"/>
        </p:nvSpPr>
        <p:spPr bwMode="gray">
          <a:xfrm rot="678011">
            <a:off x="8686112" y="693044"/>
            <a:ext cx="13502" cy="2478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25A2B01-3173-4DA6-A0AA-2E1FAB97B7AB}"/>
              </a:ext>
            </a:extLst>
          </p:cNvPr>
          <p:cNvSpPr/>
          <p:nvPr userDrawn="1"/>
        </p:nvSpPr>
        <p:spPr bwMode="gray">
          <a:xfrm rot="678011">
            <a:off x="4679050" y="-52058"/>
            <a:ext cx="13502" cy="4954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CC23B3B-A05F-474F-86A2-7F5236ECE285}"/>
              </a:ext>
            </a:extLst>
          </p:cNvPr>
          <p:cNvSpPr/>
          <p:nvPr userDrawn="1"/>
        </p:nvSpPr>
        <p:spPr bwMode="gray">
          <a:xfrm rot="678011">
            <a:off x="6603478" y="-55015"/>
            <a:ext cx="13502" cy="5259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905FAFE-265F-4013-AFEE-C60F30AAC985}"/>
              </a:ext>
            </a:extLst>
          </p:cNvPr>
          <p:cNvSpPr/>
          <p:nvPr userDrawn="1"/>
        </p:nvSpPr>
        <p:spPr bwMode="gray">
          <a:xfrm rot="678011">
            <a:off x="2542096" y="1610083"/>
            <a:ext cx="13502" cy="3577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7" name="MIO_VALID_LAYOUT" hidden="1">
            <a:extLst>
              <a:ext uri="{FF2B5EF4-FFF2-40B4-BE49-F238E27FC236}">
                <a16:creationId xmlns:a16="http://schemas.microsoft.com/office/drawing/2014/main" id="{E7E997D7-DFE8-46B3-9ABC-70C6D53C56C4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9" name="Logoschutz" hidden="1">
            <a:extLst>
              <a:ext uri="{FF2B5EF4-FFF2-40B4-BE49-F238E27FC236}">
                <a16:creationId xmlns:a16="http://schemas.microsoft.com/office/drawing/2014/main" id="{F0B6F7B0-428A-4652-A3D3-E4562D2C7A1F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859779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3 (4)">
    <p:bg>
      <p:bgPr>
        <a:gradFill>
          <a:gsLst>
            <a:gs pos="0">
              <a:srgbClr val="624963"/>
            </a:gs>
            <a:gs pos="33000">
              <a:srgbClr val="624963"/>
            </a:gs>
            <a:gs pos="72000">
              <a:srgbClr val="443247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blackGray">
          <a:xfrm>
            <a:off x="736462" y="853724"/>
            <a:ext cx="3917107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bg1"/>
                </a:solidFill>
              </a:defRPr>
            </a:lvl1pPr>
            <a:lvl2pPr marL="0" indent="0" algn="l">
              <a:buNone/>
              <a:defRPr sz="1350">
                <a:solidFill>
                  <a:schemeClr val="bg1"/>
                </a:solidFill>
              </a:defRPr>
            </a:lvl2pPr>
            <a:lvl3pPr marL="0" indent="0" algn="l">
              <a:buNone/>
              <a:defRPr sz="1350">
                <a:solidFill>
                  <a:schemeClr val="bg1"/>
                </a:solidFill>
              </a:defRPr>
            </a:lvl3pPr>
            <a:lvl4pPr marL="0" indent="0" algn="l">
              <a:buNone/>
              <a:defRPr sz="1350">
                <a:solidFill>
                  <a:schemeClr val="bg1"/>
                </a:solidFill>
              </a:defRPr>
            </a:lvl4pPr>
            <a:lvl5pPr marL="0" indent="0" algn="l">
              <a:buNone/>
              <a:defRPr sz="1350">
                <a:solidFill>
                  <a:schemeClr val="bg1"/>
                </a:solidFill>
              </a:defRPr>
            </a:lvl5pPr>
            <a:lvl6pPr marL="0" indent="0" algn="l">
              <a:buNone/>
              <a:defRPr sz="1350">
                <a:solidFill>
                  <a:schemeClr val="bg1"/>
                </a:solidFill>
              </a:defRPr>
            </a:lvl6pPr>
            <a:lvl7pPr marL="0" indent="0" algn="l">
              <a:buNone/>
              <a:defRPr sz="1350">
                <a:solidFill>
                  <a:schemeClr val="bg1"/>
                </a:solidFill>
              </a:defRPr>
            </a:lvl7pPr>
            <a:lvl8pPr marL="0" indent="0" algn="l">
              <a:buNone/>
              <a:defRPr sz="1350">
                <a:solidFill>
                  <a:schemeClr val="bg1"/>
                </a:solidFill>
              </a:defRPr>
            </a:lvl8pPr>
            <a:lvl9pPr marL="0" indent="0" algn="l">
              <a:buNone/>
              <a:defRPr sz="13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736461" y="136454"/>
            <a:ext cx="3914355" cy="64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47097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blackGray"/>
        <p:txBody>
          <a:bodyPr/>
          <a:lstStyle/>
          <a:p>
            <a:fld id="{104AFF1D-8C46-44DF-B031-3A8898447AE1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683C2ABD-2ED8-4304-9E15-7A8609C98FA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blackGray">
          <a:xfrm>
            <a:off x="466701" y="1645224"/>
            <a:ext cx="2425720" cy="2430000"/>
          </a:xfrm>
          <a:custGeom>
            <a:avLst/>
            <a:gdLst>
              <a:gd name="connsiteX0" fmla="*/ 216 w 3233873"/>
              <a:gd name="connsiteY0" fmla="*/ 3238918 h 3240000"/>
              <a:gd name="connsiteX1" fmla="*/ 5630 w 3233873"/>
              <a:gd name="connsiteY1" fmla="*/ 3240000 h 3240000"/>
              <a:gd name="connsiteX2" fmla="*/ 0 w 3233873"/>
              <a:gd name="connsiteY2" fmla="*/ 3240000 h 3240000"/>
              <a:gd name="connsiteX3" fmla="*/ 654873 w 3233873"/>
              <a:gd name="connsiteY3" fmla="*/ 0 h 3240000"/>
              <a:gd name="connsiteX4" fmla="*/ 3233873 w 3233873"/>
              <a:gd name="connsiteY4" fmla="*/ 0 h 3240000"/>
              <a:gd name="connsiteX5" fmla="*/ 2586446 w 3233873"/>
              <a:gd name="connsiteY5" fmla="*/ 3240000 h 3240000"/>
              <a:gd name="connsiteX6" fmla="*/ 7447 w 3233873"/>
              <a:gd name="connsiteY6" fmla="*/ 3240000 h 32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3873" h="3240000">
                <a:moveTo>
                  <a:pt x="216" y="3238918"/>
                </a:moveTo>
                <a:lnTo>
                  <a:pt x="5630" y="3240000"/>
                </a:lnTo>
                <a:lnTo>
                  <a:pt x="0" y="3240000"/>
                </a:lnTo>
                <a:close/>
                <a:moveTo>
                  <a:pt x="654873" y="0"/>
                </a:moveTo>
                <a:lnTo>
                  <a:pt x="3233873" y="0"/>
                </a:lnTo>
                <a:lnTo>
                  <a:pt x="2586446" y="3240000"/>
                </a:lnTo>
                <a:lnTo>
                  <a:pt x="7447" y="3240000"/>
                </a:lnTo>
                <a:close/>
              </a:path>
            </a:pathLst>
          </a:custGeom>
        </p:spPr>
        <p:txBody>
          <a:bodyPr wrap="square" tIns="684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532E467A-A0D8-4355-BA9F-5A81FBA3946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blackGray">
          <a:xfrm>
            <a:off x="2264814" y="2424520"/>
            <a:ext cx="2414238" cy="2430000"/>
          </a:xfrm>
          <a:custGeom>
            <a:avLst/>
            <a:gdLst>
              <a:gd name="connsiteX0" fmla="*/ 647426 w 3218565"/>
              <a:gd name="connsiteY0" fmla="*/ 0 h 3240000"/>
              <a:gd name="connsiteX1" fmla="*/ 3218565 w 3218565"/>
              <a:gd name="connsiteY1" fmla="*/ 0 h 3240000"/>
              <a:gd name="connsiteX2" fmla="*/ 2571517 w 3218565"/>
              <a:gd name="connsiteY2" fmla="*/ 3238102 h 3240000"/>
              <a:gd name="connsiteX3" fmla="*/ 2581018 w 3218565"/>
              <a:gd name="connsiteY3" fmla="*/ 3240000 h 3240000"/>
              <a:gd name="connsiteX4" fmla="*/ 0 w 3218565"/>
              <a:gd name="connsiteY4" fmla="*/ 3240000 h 32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18565" h="3240000">
                <a:moveTo>
                  <a:pt x="647426" y="0"/>
                </a:moveTo>
                <a:lnTo>
                  <a:pt x="3218565" y="0"/>
                </a:lnTo>
                <a:lnTo>
                  <a:pt x="2571517" y="3238102"/>
                </a:lnTo>
                <a:lnTo>
                  <a:pt x="2581018" y="3240000"/>
                </a:lnTo>
                <a:lnTo>
                  <a:pt x="0" y="3240000"/>
                </a:lnTo>
                <a:close/>
              </a:path>
            </a:pathLst>
          </a:custGeom>
        </p:spPr>
        <p:txBody>
          <a:bodyPr wrap="square" tIns="684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AFE851A5-69B0-4E45-B3E2-FA8F937DCDB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blackGray">
          <a:xfrm>
            <a:off x="4320726" y="1873824"/>
            <a:ext cx="2422707" cy="2430000"/>
          </a:xfrm>
          <a:custGeom>
            <a:avLst/>
            <a:gdLst>
              <a:gd name="connsiteX0" fmla="*/ 647125 w 3229855"/>
              <a:gd name="connsiteY0" fmla="*/ 0 h 3240000"/>
              <a:gd name="connsiteX1" fmla="*/ 3229855 w 3229855"/>
              <a:gd name="connsiteY1" fmla="*/ 0 h 3240000"/>
              <a:gd name="connsiteX2" fmla="*/ 2582428 w 3229855"/>
              <a:gd name="connsiteY2" fmla="*/ 3240000 h 3240000"/>
              <a:gd name="connsiteX3" fmla="*/ 0 w 3229855"/>
              <a:gd name="connsiteY3" fmla="*/ 3240000 h 32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29855" h="3240000">
                <a:moveTo>
                  <a:pt x="647125" y="0"/>
                </a:moveTo>
                <a:lnTo>
                  <a:pt x="3229855" y="0"/>
                </a:lnTo>
                <a:lnTo>
                  <a:pt x="2582428" y="3240000"/>
                </a:lnTo>
                <a:lnTo>
                  <a:pt x="0" y="3240000"/>
                </a:lnTo>
                <a:close/>
              </a:path>
            </a:pathLst>
          </a:custGeom>
        </p:spPr>
        <p:txBody>
          <a:bodyPr wrap="square" tIns="684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73C1865B-900E-4102-87A8-A6CAD2773F7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blackGray">
          <a:xfrm>
            <a:off x="6502770" y="716939"/>
            <a:ext cx="2426107" cy="2430000"/>
          </a:xfrm>
          <a:custGeom>
            <a:avLst/>
            <a:gdLst>
              <a:gd name="connsiteX0" fmla="*/ 647426 w 3234388"/>
              <a:gd name="connsiteY0" fmla="*/ 0 h 3240000"/>
              <a:gd name="connsiteX1" fmla="*/ 3234388 w 3234388"/>
              <a:gd name="connsiteY1" fmla="*/ 0 h 3240000"/>
              <a:gd name="connsiteX2" fmla="*/ 2587133 w 3234388"/>
              <a:gd name="connsiteY2" fmla="*/ 3239143 h 3240000"/>
              <a:gd name="connsiteX3" fmla="*/ 2588614 w 3234388"/>
              <a:gd name="connsiteY3" fmla="*/ 3239439 h 3240000"/>
              <a:gd name="connsiteX4" fmla="*/ 2588502 w 3234388"/>
              <a:gd name="connsiteY4" fmla="*/ 3240000 h 3240000"/>
              <a:gd name="connsiteX5" fmla="*/ 0 w 3234388"/>
              <a:gd name="connsiteY5" fmla="*/ 3240000 h 32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34388" h="3240000">
                <a:moveTo>
                  <a:pt x="647426" y="0"/>
                </a:moveTo>
                <a:lnTo>
                  <a:pt x="3234388" y="0"/>
                </a:lnTo>
                <a:lnTo>
                  <a:pt x="2587133" y="3239143"/>
                </a:lnTo>
                <a:lnTo>
                  <a:pt x="2588614" y="3239439"/>
                </a:lnTo>
                <a:lnTo>
                  <a:pt x="2588502" y="3240000"/>
                </a:lnTo>
                <a:lnTo>
                  <a:pt x="0" y="3240000"/>
                </a:lnTo>
                <a:close/>
              </a:path>
            </a:pathLst>
          </a:custGeom>
        </p:spPr>
        <p:txBody>
          <a:bodyPr wrap="square" tIns="684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6126371-86F7-4A18-81E9-ABFC2D14D14D}"/>
              </a:ext>
            </a:extLst>
          </p:cNvPr>
          <p:cNvSpPr/>
          <p:nvPr userDrawn="1"/>
        </p:nvSpPr>
        <p:spPr bwMode="gray">
          <a:xfrm rot="678011">
            <a:off x="701733" y="1619588"/>
            <a:ext cx="13502" cy="24786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73C87D5-60E8-41E9-AB09-06863B57B234}"/>
              </a:ext>
            </a:extLst>
          </p:cNvPr>
          <p:cNvSpPr/>
          <p:nvPr userDrawn="1"/>
        </p:nvSpPr>
        <p:spPr bwMode="gray">
          <a:xfrm rot="678011">
            <a:off x="8686112" y="693044"/>
            <a:ext cx="13502" cy="24786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01B1692-CFA6-4C34-AF6A-56242E7455A1}"/>
              </a:ext>
            </a:extLst>
          </p:cNvPr>
          <p:cNvSpPr/>
          <p:nvPr userDrawn="1"/>
        </p:nvSpPr>
        <p:spPr bwMode="gray">
          <a:xfrm rot="678011">
            <a:off x="4679050" y="-52058"/>
            <a:ext cx="13502" cy="4954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F17AE41-5E72-4672-987B-182D8620B827}"/>
              </a:ext>
            </a:extLst>
          </p:cNvPr>
          <p:cNvSpPr/>
          <p:nvPr userDrawn="1"/>
        </p:nvSpPr>
        <p:spPr bwMode="gray">
          <a:xfrm rot="678011">
            <a:off x="6603478" y="-55015"/>
            <a:ext cx="13502" cy="52596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FB85DB5-58DF-4F00-A676-245A6AB609B3}"/>
              </a:ext>
            </a:extLst>
          </p:cNvPr>
          <p:cNvSpPr/>
          <p:nvPr userDrawn="1"/>
        </p:nvSpPr>
        <p:spPr bwMode="gray">
          <a:xfrm rot="678011">
            <a:off x="2542096" y="1610083"/>
            <a:ext cx="13502" cy="3577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7" name="MIO_VALID_LAYOUT" hidden="1">
            <a:extLst>
              <a:ext uri="{FF2B5EF4-FFF2-40B4-BE49-F238E27FC236}">
                <a16:creationId xmlns:a16="http://schemas.microsoft.com/office/drawing/2014/main" id="{631A64EA-E53B-4CD9-A54F-8CAE2D833387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9" name="Logoschutz" hidden="1">
            <a:extLst>
              <a:ext uri="{FF2B5EF4-FFF2-40B4-BE49-F238E27FC236}">
                <a16:creationId xmlns:a16="http://schemas.microsoft.com/office/drawing/2014/main" id="{63196789-4B61-478D-BB73-490EB508D0F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94708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3 (3)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3" y="1299317"/>
            <a:ext cx="2715768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2DF10D3-0705-48B1-850A-F8EE4257FE73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1818711"/>
            <a:ext cx="2715621" cy="1080000"/>
          </a:xfrm>
        </p:spPr>
        <p:txBody>
          <a:bodyPr anchor="t"/>
          <a:lstStyle>
            <a:lvl1pPr>
              <a:defRPr sz="24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3196613"/>
            <a:ext cx="2186924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26326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10F45FFE-96B1-40C5-A292-0CA94D34D065}"/>
              </a:ext>
            </a:extLst>
          </p:cNvPr>
          <p:cNvSpPr/>
          <p:nvPr userDrawn="1"/>
        </p:nvSpPr>
        <p:spPr bwMode="gray">
          <a:xfrm>
            <a:off x="3056992" y="0"/>
            <a:ext cx="6087008" cy="51435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1B2855E-6374-4E16-B969-06FB4FD6A6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3085055" y="0"/>
            <a:ext cx="2988919" cy="5143500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95279B28-8E9A-48EF-BBFA-EB5F09F244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5105077" y="0"/>
            <a:ext cx="2996894" cy="5143500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0" name="Picture Placeholder 56">
            <a:extLst>
              <a:ext uri="{FF2B5EF4-FFF2-40B4-BE49-F238E27FC236}">
                <a16:creationId xmlns:a16="http://schemas.microsoft.com/office/drawing/2014/main" id="{3DF0ABB8-43C5-486B-97C5-606C5882130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7190166" y="0"/>
            <a:ext cx="1955620" cy="484794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</a:t>
            </a:r>
            <a:br>
              <a:rPr lang="en-US"/>
            </a:br>
            <a:r>
              <a:rPr lang="en-US"/>
              <a:t>add picture</a:t>
            </a:r>
            <a:endParaRPr lang="de-DE"/>
          </a:p>
        </p:txBody>
      </p:sp>
      <p:sp>
        <p:nvSpPr>
          <p:cNvPr id="14" name="MIO_VALID_LAYOUT" hidden="1">
            <a:extLst>
              <a:ext uri="{FF2B5EF4-FFF2-40B4-BE49-F238E27FC236}">
                <a16:creationId xmlns:a16="http://schemas.microsoft.com/office/drawing/2014/main" id="{0465EA00-3EFA-4E02-9E94-4A0C46405631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5" name="Logoschutz" hidden="1">
            <a:extLst>
              <a:ext uri="{FF2B5EF4-FFF2-40B4-BE49-F238E27FC236}">
                <a16:creationId xmlns:a16="http://schemas.microsoft.com/office/drawing/2014/main" id="{0E4D9B70-294B-4EEF-9E60-A1B22BE16F42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5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5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05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634624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1" y="853724"/>
            <a:ext cx="8099900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76ED653-63D9-48FD-8660-58C4BC8A730F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7097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736461" y="1299564"/>
            <a:ext cx="8099900" cy="356399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36243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35"/>
          <p:cNvSpPr txBox="1">
            <a:spLocks noGrp="1"/>
          </p:cNvSpPr>
          <p:nvPr>
            <p:ph type="title"/>
          </p:nvPr>
        </p:nvSpPr>
        <p:spPr>
          <a:xfrm>
            <a:off x="-58999" y="127560"/>
            <a:ext cx="387594" cy="4118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615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35"/>
          <p:cNvSpPr txBox="1">
            <a:spLocks noGrp="1"/>
          </p:cNvSpPr>
          <p:nvPr>
            <p:ph type="body" idx="1"/>
          </p:nvPr>
        </p:nvSpPr>
        <p:spPr>
          <a:xfrm>
            <a:off x="320166" y="1722562"/>
            <a:ext cx="8503689" cy="207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207935" lvl="0" indent="-10396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b="0" i="0">
                <a:solidFill>
                  <a:schemeClr val="dk1"/>
                </a:solidFill>
              </a:defRPr>
            </a:lvl1pPr>
            <a:lvl2pPr marL="415869" lvl="1" indent="-10396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623804" lvl="2" indent="-10396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831738" lvl="3" indent="-10396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1039673" lvl="4" indent="-10396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1247607" lvl="5" indent="-10396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1455542" lvl="6" indent="-10396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1663477" lvl="7" indent="-10396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1871411" lvl="8" indent="-10396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35"/>
          <p:cNvSpPr txBox="1">
            <a:spLocks noGrp="1"/>
          </p:cNvSpPr>
          <p:nvPr>
            <p:ph type="ftr" idx="11"/>
          </p:nvPr>
        </p:nvSpPr>
        <p:spPr>
          <a:xfrm>
            <a:off x="3108960" y="4783455"/>
            <a:ext cx="2926080" cy="807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5"/>
          <p:cNvSpPr txBox="1">
            <a:spLocks noGrp="1"/>
          </p:cNvSpPr>
          <p:nvPr>
            <p:ph type="dt" idx="10"/>
          </p:nvPr>
        </p:nvSpPr>
        <p:spPr>
          <a:xfrm>
            <a:off x="8795803" y="4993689"/>
            <a:ext cx="258781" cy="559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64" b="1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35"/>
          <p:cNvSpPr txBox="1">
            <a:spLocks noGrp="1"/>
          </p:cNvSpPr>
          <p:nvPr>
            <p:ph type="sldNum" idx="12"/>
          </p:nvPr>
        </p:nvSpPr>
        <p:spPr>
          <a:xfrm>
            <a:off x="6583681" y="4783456"/>
            <a:ext cx="2103120" cy="1260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819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819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819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819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819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819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819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819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819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150137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slideLayout" Target="../slideLayouts/slideLayout61.xml"/><Relationship Id="rId55" Type="http://schemas.openxmlformats.org/officeDocument/2006/relationships/image" Target="../media/image2.png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tags" Target="../tags/tag1.xml"/><Relationship Id="rId5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56" Type="http://schemas.openxmlformats.org/officeDocument/2006/relationships/image" Target="../media/image3.png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57" Type="http://schemas.openxmlformats.org/officeDocument/2006/relationships/image" Target="../media/image4.png"/><Relationship Id="rId10" Type="http://schemas.openxmlformats.org/officeDocument/2006/relationships/slideLayout" Target="../slideLayouts/slideLayout21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973288C-4806-5D3A-D9AF-589084CD7B1C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7710488" y="4744720"/>
            <a:ext cx="1433512" cy="3352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TRICTED</a:t>
            </a: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735307" y="1299563"/>
            <a:ext cx="8101054" cy="356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736462" y="136454"/>
            <a:ext cx="8099899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342009" y="4963450"/>
            <a:ext cx="366760" cy="81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525">
                <a:noFill/>
              </a:defRPr>
            </a:lvl1pPr>
            <a:lvl2pPr marL="1191" indent="0" algn="r">
              <a:defRPr sz="525">
                <a:noFill/>
              </a:defRPr>
            </a:lvl2pPr>
            <a:lvl3pPr marL="0" indent="0" algn="r">
              <a:defRPr sz="525">
                <a:noFill/>
              </a:defRPr>
            </a:lvl3pPr>
            <a:lvl4pPr marL="0" indent="0" algn="r">
              <a:tabLst/>
              <a:defRPr sz="525">
                <a:noFill/>
              </a:defRPr>
            </a:lvl4pPr>
            <a:lvl5pPr marL="0" indent="0" algn="r">
              <a:defRPr sz="525">
                <a:noFill/>
              </a:defRPr>
            </a:lvl5pPr>
            <a:lvl6pPr marL="0" indent="0" algn="r">
              <a:defRPr sz="525">
                <a:noFill/>
              </a:defRPr>
            </a:lvl6pPr>
            <a:lvl7pPr marL="0" indent="0" algn="r">
              <a:defRPr sz="525">
                <a:noFill/>
              </a:defRPr>
            </a:lvl7pPr>
            <a:lvl8pPr marL="0" indent="0" algn="r">
              <a:defRPr sz="525">
                <a:noFill/>
              </a:defRPr>
            </a:lvl8pPr>
            <a:lvl9pPr marL="0" indent="0" algn="r">
              <a:defRPr sz="525">
                <a:noFill/>
              </a:defRPr>
            </a:lvl9pPr>
          </a:lstStyle>
          <a:p>
            <a:fld id="{9ED5D71D-07B8-4482-A48C-719943BF0A45}" type="datetime1">
              <a:rPr lang="en-US" smtClean="0"/>
              <a:t>7/2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731099" y="4963450"/>
            <a:ext cx="6480844" cy="81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525">
                <a:solidFill>
                  <a:schemeClr val="accent1"/>
                </a:solidFill>
              </a:defRPr>
            </a:lvl1pPr>
            <a:lvl2pPr marL="0" indent="0">
              <a:defRPr sz="525">
                <a:solidFill>
                  <a:schemeClr val="accent1"/>
                </a:solidFill>
              </a:defRPr>
            </a:lvl2pPr>
            <a:lvl3pPr marL="0" indent="0">
              <a:defRPr sz="525">
                <a:solidFill>
                  <a:schemeClr val="accent1"/>
                </a:solidFill>
              </a:defRPr>
            </a:lvl3pPr>
            <a:lvl4pPr marL="0" indent="0">
              <a:defRPr sz="525">
                <a:solidFill>
                  <a:schemeClr val="accent1"/>
                </a:solidFill>
              </a:defRPr>
            </a:lvl4pPr>
            <a:lvl5pPr marL="0" indent="0">
              <a:defRPr sz="525">
                <a:solidFill>
                  <a:schemeClr val="accent1"/>
                </a:solidFill>
              </a:defRPr>
            </a:lvl5pPr>
            <a:lvl6pPr marL="0" indent="0">
              <a:tabLst/>
              <a:defRPr sz="525">
                <a:solidFill>
                  <a:schemeClr val="accent1"/>
                </a:solidFill>
              </a:defRPr>
            </a:lvl6pPr>
            <a:lvl7pPr marL="0" indent="0">
              <a:tabLst/>
              <a:defRPr sz="525">
                <a:solidFill>
                  <a:schemeClr val="accent1"/>
                </a:solidFill>
              </a:defRPr>
            </a:lvl7pPr>
            <a:lvl8pPr marL="0" indent="0">
              <a:defRPr sz="525">
                <a:solidFill>
                  <a:schemeClr val="accent1"/>
                </a:solidFill>
              </a:defRPr>
            </a:lvl8pPr>
            <a:lvl9pPr marL="0" indent="0">
              <a:defRPr sz="525">
                <a:solidFill>
                  <a:schemeClr val="accent1"/>
                </a:solidFill>
              </a:defRPr>
            </a:lvl9pPr>
          </a:lstStyle>
          <a:p>
            <a:r>
              <a:rPr lang="en-US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46901" y="4963450"/>
            <a:ext cx="294283" cy="81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525">
                <a:solidFill>
                  <a:schemeClr val="accent2"/>
                </a:solidFill>
              </a:defRPr>
            </a:lvl1pPr>
            <a:lvl2pPr marL="0" indent="0" algn="ctr">
              <a:defRPr sz="525">
                <a:solidFill>
                  <a:schemeClr val="accent2"/>
                </a:solidFill>
              </a:defRPr>
            </a:lvl2pPr>
            <a:lvl3pPr marL="0" indent="0" algn="ctr">
              <a:defRPr sz="525">
                <a:solidFill>
                  <a:schemeClr val="accent2"/>
                </a:solidFill>
              </a:defRPr>
            </a:lvl3pPr>
            <a:lvl4pPr marL="0" indent="0" algn="ctr">
              <a:defRPr sz="525">
                <a:solidFill>
                  <a:schemeClr val="accent2"/>
                </a:solidFill>
              </a:defRPr>
            </a:lvl4pPr>
            <a:lvl5pPr marL="0" indent="0" algn="ctr">
              <a:defRPr sz="525">
                <a:solidFill>
                  <a:schemeClr val="accent2"/>
                </a:solidFill>
              </a:defRPr>
            </a:lvl5pPr>
            <a:lvl6pPr marL="0" indent="0" algn="ctr">
              <a:defRPr sz="525">
                <a:solidFill>
                  <a:schemeClr val="accent2"/>
                </a:solidFill>
              </a:defRPr>
            </a:lvl6pPr>
            <a:lvl7pPr marL="0" indent="0" algn="ctr">
              <a:defRPr sz="525">
                <a:solidFill>
                  <a:schemeClr val="accent2"/>
                </a:solidFill>
              </a:defRPr>
            </a:lvl7pPr>
            <a:lvl8pPr marL="0" indent="0" algn="ctr">
              <a:defRPr sz="525">
                <a:solidFill>
                  <a:schemeClr val="accent2"/>
                </a:solidFill>
              </a:defRPr>
            </a:lvl8pPr>
            <a:lvl9pPr marL="0" indent="0" algn="ctr">
              <a:defRPr sz="525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empower - DO NOT DELETE!!!" hidden="1"/>
          <p:cNvSpPr/>
          <p:nvPr userDrawn="1">
            <p:custDataLst>
              <p:tags r:id="rId53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050"/>
          </a:p>
        </p:txBody>
      </p:sp>
    </p:spTree>
    <p:extLst>
      <p:ext uri="{BB962C8B-B14F-4D97-AF65-F5344CB8AC3E}">
        <p14:creationId xmlns:p14="http://schemas.microsoft.com/office/powerpoint/2010/main" val="2638855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900"/>
        </a:spcBef>
        <a:spcAft>
          <a:spcPts val="450"/>
        </a:spcAft>
        <a:buFont typeface="Arial" panose="020B0604020202020204" pitchFamily="34" charset="0"/>
        <a:buNone/>
        <a:defRPr sz="135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025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54"/>
        </a:buBlip>
        <a:defRPr sz="1350" kern="1200">
          <a:solidFill>
            <a:schemeClr val="accent1"/>
          </a:solidFill>
          <a:latin typeface="+mn-lt"/>
          <a:ea typeface="+mn-ea"/>
          <a:cs typeface="+mn-cs"/>
        </a:defRPr>
      </a:lvl2pPr>
      <a:lvl3pPr marL="405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55"/>
        </a:buBlip>
        <a:defRPr sz="1350" kern="1200">
          <a:solidFill>
            <a:schemeClr val="accent1"/>
          </a:solidFill>
          <a:latin typeface="+mn-lt"/>
          <a:ea typeface="+mn-ea"/>
          <a:cs typeface="+mn-cs"/>
        </a:defRPr>
      </a:lvl3pPr>
      <a:lvl4pPr marL="6075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56"/>
        </a:buBlip>
        <a:defRPr sz="1350" kern="1200">
          <a:solidFill>
            <a:schemeClr val="accent1"/>
          </a:solidFill>
          <a:latin typeface="+mn-lt"/>
          <a:ea typeface="+mn-ea"/>
          <a:cs typeface="+mn-cs"/>
        </a:defRPr>
      </a:lvl4pPr>
      <a:lvl5pPr marL="810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57"/>
        </a:buBlip>
        <a:defRPr sz="1350" kern="1200">
          <a:solidFill>
            <a:schemeClr val="accent1"/>
          </a:solidFill>
          <a:latin typeface="+mn-lt"/>
          <a:ea typeface="+mn-ea"/>
          <a:cs typeface="+mn-cs"/>
        </a:defRPr>
      </a:lvl5pPr>
      <a:lvl6pPr marL="810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57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810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57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810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57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810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57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0.xml"/><Relationship Id="rId6" Type="http://schemas.openxmlformats.org/officeDocument/2006/relationships/image" Target="../media/image8.png"/><Relationship Id="rId5" Type="http://schemas.openxmlformats.org/officeDocument/2006/relationships/slide" Target="slide2.xml"/><Relationship Id="rId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3.xml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Relationship Id="rId9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Text Placeholder 7"/>
          <p:cNvSpPr txBox="1">
            <a:spLocks/>
          </p:cNvSpPr>
          <p:nvPr/>
        </p:nvSpPr>
        <p:spPr bwMode="gray">
          <a:xfrm>
            <a:off x="3247235" y="1394222"/>
            <a:ext cx="1852200" cy="564300"/>
          </a:xfrm>
          <a:prstGeom prst="rect">
            <a:avLst/>
          </a:prstGeom>
          <a:solidFill>
            <a:schemeClr val="accent1"/>
          </a:solidFill>
        </p:spPr>
        <p:txBody>
          <a:bodyPr vert="horz" lIns="81000" tIns="54000" rIns="81000" bIns="5400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12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685800">
              <a:spcBef>
                <a:spcPts val="900"/>
              </a:spcBef>
              <a:buClrTx/>
            </a:pPr>
            <a:r>
              <a:rPr lang="pt-BR" sz="1050">
                <a:solidFill>
                  <a:srgbClr val="FFFFFF"/>
                </a:solidFill>
                <a:latin typeface="Arial"/>
                <a:cs typeface="Arial"/>
              </a:rPr>
              <a:t>knowledge using GCP services – BigQuery/Apache Airflow data. </a:t>
            </a:r>
            <a:endParaRPr lang="de-DE" sz="105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22" name="Text Placeholder 7"/>
          <p:cNvSpPr txBox="1">
            <a:spLocks/>
          </p:cNvSpPr>
          <p:nvPr/>
        </p:nvSpPr>
        <p:spPr bwMode="gray">
          <a:xfrm>
            <a:off x="3247235" y="2211735"/>
            <a:ext cx="1852200" cy="564300"/>
          </a:xfrm>
          <a:prstGeom prst="rect">
            <a:avLst/>
          </a:prstGeom>
          <a:solidFill>
            <a:schemeClr val="accent1"/>
          </a:solidFill>
        </p:spPr>
        <p:txBody>
          <a:bodyPr vert="horz" lIns="81000" tIns="54000" rIns="81000" bIns="5400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12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685800">
              <a:spcBef>
                <a:spcPts val="900"/>
              </a:spcBef>
              <a:buClrTx/>
            </a:pPr>
            <a:r>
              <a:rPr lang="pt-BR" sz="1050">
                <a:solidFill>
                  <a:srgbClr val="FFFFFF"/>
                </a:solidFill>
                <a:latin typeface="Arial"/>
                <a:cs typeface="Arial"/>
              </a:rPr>
              <a:t>Data source already hosted on GCP</a:t>
            </a:r>
            <a:r>
              <a:rPr lang="de-DE" sz="1050">
                <a:solidFill>
                  <a:srgbClr val="FFFFFF"/>
                </a:solidFill>
                <a:latin typeface="Arial"/>
                <a:cs typeface="Arial"/>
              </a:rPr>
              <a:t>.</a:t>
            </a:r>
          </a:p>
        </p:txBody>
      </p:sp>
      <p:sp>
        <p:nvSpPr>
          <p:cNvPr id="123" name="Text Placeholder 7"/>
          <p:cNvSpPr txBox="1">
            <a:spLocks/>
          </p:cNvSpPr>
          <p:nvPr/>
        </p:nvSpPr>
        <p:spPr bwMode="gray">
          <a:xfrm>
            <a:off x="3247235" y="2971110"/>
            <a:ext cx="1852200" cy="564300"/>
          </a:xfrm>
          <a:prstGeom prst="rect">
            <a:avLst/>
          </a:prstGeom>
          <a:solidFill>
            <a:schemeClr val="accent1"/>
          </a:solidFill>
        </p:spPr>
        <p:txBody>
          <a:bodyPr vert="horz" lIns="81000" tIns="54000" rIns="81000" bIns="5400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12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685800">
              <a:spcBef>
                <a:spcPts val="900"/>
              </a:spcBef>
              <a:buClrTx/>
            </a:pPr>
            <a:r>
              <a:rPr lang="en-US" sz="1050">
                <a:solidFill>
                  <a:srgbClr val="FFFFFF"/>
                </a:solidFill>
                <a:latin typeface="Arial"/>
                <a:cs typeface="Arial"/>
              </a:rPr>
              <a:t>Easier integration with Google services.</a:t>
            </a:r>
          </a:p>
        </p:txBody>
      </p:sp>
      <p:sp>
        <p:nvSpPr>
          <p:cNvPr id="124" name="Text Placeholder 7"/>
          <p:cNvSpPr txBox="1">
            <a:spLocks/>
          </p:cNvSpPr>
          <p:nvPr/>
        </p:nvSpPr>
        <p:spPr bwMode="gray">
          <a:xfrm>
            <a:off x="3247235" y="3717111"/>
            <a:ext cx="1852200" cy="564300"/>
          </a:xfrm>
          <a:prstGeom prst="rect">
            <a:avLst/>
          </a:prstGeom>
          <a:solidFill>
            <a:schemeClr val="accent1"/>
          </a:solidFill>
        </p:spPr>
        <p:txBody>
          <a:bodyPr vert="horz" lIns="81000" tIns="54000" rIns="81000" bIns="5400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12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685800">
              <a:spcBef>
                <a:spcPts val="900"/>
              </a:spcBef>
              <a:buClrTx/>
            </a:pPr>
            <a:r>
              <a:rPr lang="en-US" sz="1050">
                <a:solidFill>
                  <a:srgbClr val="FFFFFF"/>
                </a:solidFill>
                <a:latin typeface="Arial"/>
                <a:cs typeface="Arial"/>
              </a:rPr>
              <a:t>Architecture ready to start implementation.</a:t>
            </a:r>
            <a:endParaRPr lang="de-DE" sz="105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25" name="Text Placeholder 7"/>
          <p:cNvSpPr txBox="1">
            <a:spLocks/>
          </p:cNvSpPr>
          <p:nvPr/>
        </p:nvSpPr>
        <p:spPr bwMode="gray">
          <a:xfrm>
            <a:off x="3247235" y="4457756"/>
            <a:ext cx="1852200" cy="564300"/>
          </a:xfrm>
          <a:prstGeom prst="rect">
            <a:avLst/>
          </a:prstGeom>
          <a:solidFill>
            <a:schemeClr val="accent1"/>
          </a:solidFill>
        </p:spPr>
        <p:txBody>
          <a:bodyPr vert="horz" lIns="81000" tIns="54000" rIns="81000" bIns="5400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12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685800">
              <a:spcBef>
                <a:spcPts val="900"/>
              </a:spcBef>
              <a:buClrTx/>
            </a:pPr>
            <a:r>
              <a:rPr lang="de-DE" sz="1050">
                <a:solidFill>
                  <a:srgbClr val="FFFFFF"/>
                </a:solidFill>
                <a:latin typeface="Arial"/>
                <a:cs typeface="Arial"/>
              </a:rPr>
              <a:t>Seamless integration</a:t>
            </a:r>
          </a:p>
        </p:txBody>
      </p:sp>
      <p:sp>
        <p:nvSpPr>
          <p:cNvPr id="126" name="Text Placeholder 7"/>
          <p:cNvSpPr txBox="1">
            <a:spLocks/>
          </p:cNvSpPr>
          <p:nvPr/>
        </p:nvSpPr>
        <p:spPr bwMode="gray">
          <a:xfrm>
            <a:off x="6389606" y="2142809"/>
            <a:ext cx="2446200" cy="189000"/>
          </a:xfrm>
          <a:prstGeom prst="rect">
            <a:avLst/>
          </a:prstGeom>
          <a:solidFill>
            <a:srgbClr val="DAD6DA"/>
          </a:solidFill>
        </p:spPr>
        <p:txBody>
          <a:bodyPr vert="horz" lIns="81000" tIns="54000" rIns="81000" bIns="5400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12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685800">
              <a:spcBef>
                <a:spcPts val="900"/>
              </a:spcBef>
              <a:buClrTx/>
            </a:pPr>
            <a:r>
              <a:rPr lang="pt-BR" sz="1050">
                <a:solidFill>
                  <a:srgbClr val="000000"/>
                </a:solidFill>
                <a:latin typeface="Arial"/>
                <a:cs typeface="Arial"/>
              </a:rPr>
              <a:t>Avoid complexity on access </a:t>
            </a:r>
            <a:endParaRPr lang="de-DE" sz="1050">
              <a:solidFill>
                <a:srgbClr val="10384F"/>
              </a:solidFill>
              <a:latin typeface="Arial"/>
              <a:cs typeface="Arial"/>
            </a:endParaRPr>
          </a:p>
        </p:txBody>
      </p:sp>
      <p:sp>
        <p:nvSpPr>
          <p:cNvPr id="127" name="Text Placeholder 7"/>
          <p:cNvSpPr txBox="1">
            <a:spLocks/>
          </p:cNvSpPr>
          <p:nvPr/>
        </p:nvSpPr>
        <p:spPr bwMode="gray">
          <a:xfrm>
            <a:off x="6389606" y="2386155"/>
            <a:ext cx="2446200" cy="189000"/>
          </a:xfrm>
          <a:prstGeom prst="rect">
            <a:avLst/>
          </a:prstGeom>
          <a:solidFill>
            <a:srgbClr val="DAD6DA"/>
          </a:solidFill>
        </p:spPr>
        <p:txBody>
          <a:bodyPr vert="horz" lIns="81000" tIns="54000" rIns="81000" bIns="5400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12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685800">
              <a:spcBef>
                <a:spcPts val="900"/>
              </a:spcBef>
              <a:buClrTx/>
            </a:pPr>
            <a:r>
              <a:rPr lang="pt-BR" sz="1050">
                <a:solidFill>
                  <a:srgbClr val="000000"/>
                </a:solidFill>
                <a:latin typeface="Arial"/>
                <a:cs typeface="Arial"/>
              </a:rPr>
              <a:t>Inbound / outbound costs</a:t>
            </a:r>
            <a:endParaRPr lang="de-DE" sz="1050">
              <a:solidFill>
                <a:srgbClr val="10384F"/>
              </a:solidFill>
              <a:latin typeface="Arial"/>
              <a:cs typeface="Arial"/>
            </a:endParaRPr>
          </a:p>
        </p:txBody>
      </p:sp>
      <p:sp>
        <p:nvSpPr>
          <p:cNvPr id="128" name="Text Placeholder 7"/>
          <p:cNvSpPr txBox="1">
            <a:spLocks/>
          </p:cNvSpPr>
          <p:nvPr/>
        </p:nvSpPr>
        <p:spPr bwMode="gray">
          <a:xfrm>
            <a:off x="6389606" y="2630372"/>
            <a:ext cx="2446200" cy="189000"/>
          </a:xfrm>
          <a:prstGeom prst="rect">
            <a:avLst/>
          </a:prstGeom>
          <a:solidFill>
            <a:srgbClr val="DAD6DA"/>
          </a:solidFill>
        </p:spPr>
        <p:txBody>
          <a:bodyPr vert="horz" lIns="81000" tIns="54000" rIns="81000" bIns="5400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12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685800">
              <a:spcBef>
                <a:spcPts val="900"/>
              </a:spcBef>
              <a:buClrTx/>
            </a:pPr>
            <a:r>
              <a:rPr lang="pt-BR" sz="900">
                <a:solidFill>
                  <a:srgbClr val="000000"/>
                </a:solidFill>
                <a:latin typeface="Arial"/>
                <a:cs typeface="Arial"/>
              </a:rPr>
              <a:t>Avoids data transfer issues between clouds</a:t>
            </a:r>
            <a:endParaRPr lang="de-DE" sz="900">
              <a:solidFill>
                <a:srgbClr val="10384F"/>
              </a:solidFill>
              <a:latin typeface="Arial"/>
              <a:cs typeface="Arial"/>
            </a:endParaRPr>
          </a:p>
        </p:txBody>
      </p:sp>
      <p:sp>
        <p:nvSpPr>
          <p:cNvPr id="129" name="Text Placeholder 7"/>
          <p:cNvSpPr txBox="1">
            <a:spLocks/>
          </p:cNvSpPr>
          <p:nvPr/>
        </p:nvSpPr>
        <p:spPr bwMode="gray">
          <a:xfrm>
            <a:off x="6389606" y="1509553"/>
            <a:ext cx="2446200" cy="189000"/>
          </a:xfrm>
          <a:prstGeom prst="rect">
            <a:avLst/>
          </a:prstGeom>
          <a:solidFill>
            <a:srgbClr val="DAD6DA"/>
          </a:solidFill>
        </p:spPr>
        <p:txBody>
          <a:bodyPr vert="horz" lIns="81000" tIns="54000" rIns="81000" bIns="5400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12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685800">
              <a:spcBef>
                <a:spcPts val="900"/>
              </a:spcBef>
              <a:buClrTx/>
            </a:pPr>
            <a:r>
              <a:rPr lang="pt-BR" sz="1050">
                <a:solidFill>
                  <a:srgbClr val="000000"/>
                </a:solidFill>
                <a:latin typeface="Arial"/>
                <a:cs typeface="Arial"/>
              </a:rPr>
              <a:t>Data transformation </a:t>
            </a:r>
            <a:endParaRPr lang="de-DE" sz="1050">
              <a:solidFill>
                <a:srgbClr val="10384F"/>
              </a:solidFill>
              <a:latin typeface="Arial"/>
              <a:cs typeface="Arial"/>
            </a:endParaRPr>
          </a:p>
        </p:txBody>
      </p:sp>
      <p:sp>
        <p:nvSpPr>
          <p:cNvPr id="130" name="Text Placeholder 7"/>
          <p:cNvSpPr txBox="1">
            <a:spLocks/>
          </p:cNvSpPr>
          <p:nvPr/>
        </p:nvSpPr>
        <p:spPr bwMode="gray">
          <a:xfrm>
            <a:off x="6390055" y="1769764"/>
            <a:ext cx="2446200" cy="189000"/>
          </a:xfrm>
          <a:prstGeom prst="rect">
            <a:avLst/>
          </a:prstGeom>
          <a:solidFill>
            <a:srgbClr val="DAD6DA"/>
          </a:solidFill>
        </p:spPr>
        <p:txBody>
          <a:bodyPr vert="horz" lIns="81000" tIns="54000" rIns="81000" bIns="5400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12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685800">
              <a:spcBef>
                <a:spcPts val="900"/>
              </a:spcBef>
              <a:buClrTx/>
            </a:pPr>
            <a:r>
              <a:rPr lang="pt-BR" sz="1050">
                <a:solidFill>
                  <a:srgbClr val="000000"/>
                </a:solidFill>
                <a:latin typeface="Arial"/>
                <a:cs typeface="Arial"/>
              </a:rPr>
              <a:t>Scheduling processes</a:t>
            </a:r>
            <a:endParaRPr lang="de-DE" sz="1050">
              <a:solidFill>
                <a:srgbClr val="10384F"/>
              </a:solidFill>
              <a:latin typeface="Arial"/>
              <a:cs typeface="Arial"/>
            </a:endParaRPr>
          </a:p>
        </p:txBody>
      </p:sp>
      <p:sp>
        <p:nvSpPr>
          <p:cNvPr id="131" name="Text Placeholder 7"/>
          <p:cNvSpPr txBox="1">
            <a:spLocks/>
          </p:cNvSpPr>
          <p:nvPr/>
        </p:nvSpPr>
        <p:spPr bwMode="gray">
          <a:xfrm>
            <a:off x="6390055" y="3051803"/>
            <a:ext cx="2446200" cy="189000"/>
          </a:xfrm>
          <a:prstGeom prst="rect">
            <a:avLst/>
          </a:prstGeom>
          <a:solidFill>
            <a:srgbClr val="DAD6DA"/>
          </a:solidFill>
        </p:spPr>
        <p:txBody>
          <a:bodyPr vert="horz" lIns="81000" tIns="54000" rIns="81000" bIns="5400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12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685800">
              <a:spcBef>
                <a:spcPts val="900"/>
              </a:spcBef>
              <a:buClrTx/>
            </a:pPr>
            <a:r>
              <a:rPr lang="en-US" sz="1050">
                <a:solidFill>
                  <a:srgbClr val="10384F"/>
                </a:solidFill>
                <a:latin typeface="Arial"/>
                <a:cs typeface="Arial"/>
              </a:rPr>
              <a:t>no VPC needed</a:t>
            </a:r>
            <a:endParaRPr lang="de-DE" sz="1050">
              <a:solidFill>
                <a:srgbClr val="10384F"/>
              </a:solidFill>
              <a:latin typeface="Arial"/>
              <a:cs typeface="Arial"/>
            </a:endParaRPr>
          </a:p>
        </p:txBody>
      </p:sp>
      <p:sp>
        <p:nvSpPr>
          <p:cNvPr id="133" name="Text Placeholder 7"/>
          <p:cNvSpPr txBox="1">
            <a:spLocks/>
          </p:cNvSpPr>
          <p:nvPr/>
        </p:nvSpPr>
        <p:spPr bwMode="gray">
          <a:xfrm>
            <a:off x="6390055" y="3308779"/>
            <a:ext cx="2446200" cy="189000"/>
          </a:xfrm>
          <a:prstGeom prst="rect">
            <a:avLst/>
          </a:prstGeom>
          <a:solidFill>
            <a:srgbClr val="DAD6DA"/>
          </a:solidFill>
        </p:spPr>
        <p:txBody>
          <a:bodyPr vert="horz" lIns="81000" tIns="54000" rIns="81000" bIns="5400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12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685800">
              <a:spcBef>
                <a:spcPts val="900"/>
              </a:spcBef>
              <a:buClrTx/>
            </a:pPr>
            <a:r>
              <a:rPr lang="en-US" sz="900">
                <a:solidFill>
                  <a:srgbClr val="10384F"/>
                </a:solidFill>
                <a:latin typeface="Arial"/>
                <a:cs typeface="Arial"/>
              </a:rPr>
              <a:t>Integration is made using a service account</a:t>
            </a:r>
            <a:endParaRPr lang="de-DE" sz="900">
              <a:solidFill>
                <a:srgbClr val="10384F"/>
              </a:solidFill>
              <a:latin typeface="Arial"/>
              <a:cs typeface="Arial"/>
            </a:endParaRPr>
          </a:p>
        </p:txBody>
      </p:sp>
      <p:sp>
        <p:nvSpPr>
          <p:cNvPr id="135" name="Text Placeholder 7"/>
          <p:cNvSpPr txBox="1">
            <a:spLocks/>
          </p:cNvSpPr>
          <p:nvPr/>
        </p:nvSpPr>
        <p:spPr bwMode="gray">
          <a:xfrm>
            <a:off x="6390055" y="3788541"/>
            <a:ext cx="2446200" cy="189000"/>
          </a:xfrm>
          <a:prstGeom prst="rect">
            <a:avLst/>
          </a:prstGeom>
          <a:solidFill>
            <a:srgbClr val="DAD6DA"/>
          </a:solidFill>
        </p:spPr>
        <p:txBody>
          <a:bodyPr vert="horz" lIns="81000" tIns="54000" rIns="81000" bIns="5400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12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685800">
              <a:spcBef>
                <a:spcPts val="900"/>
              </a:spcBef>
              <a:buClrTx/>
            </a:pPr>
            <a:r>
              <a:rPr lang="en-US" sz="1050">
                <a:solidFill>
                  <a:srgbClr val="10384F"/>
                </a:solidFill>
                <a:latin typeface="Arial"/>
                <a:cs typeface="Arial"/>
              </a:rPr>
              <a:t>Improved productivity</a:t>
            </a:r>
            <a:endParaRPr lang="de-DE" sz="1050">
              <a:solidFill>
                <a:srgbClr val="10384F"/>
              </a:solidFill>
              <a:latin typeface="Arial"/>
              <a:cs typeface="Arial"/>
            </a:endParaRPr>
          </a:p>
        </p:txBody>
      </p:sp>
      <p:sp>
        <p:nvSpPr>
          <p:cNvPr id="136" name="Text Placeholder 7"/>
          <p:cNvSpPr txBox="1">
            <a:spLocks/>
          </p:cNvSpPr>
          <p:nvPr/>
        </p:nvSpPr>
        <p:spPr bwMode="gray">
          <a:xfrm>
            <a:off x="6390055" y="4044683"/>
            <a:ext cx="2446200" cy="189000"/>
          </a:xfrm>
          <a:prstGeom prst="rect">
            <a:avLst/>
          </a:prstGeom>
          <a:solidFill>
            <a:srgbClr val="DAD6DA"/>
          </a:solidFill>
        </p:spPr>
        <p:txBody>
          <a:bodyPr vert="horz" lIns="81000" tIns="54000" rIns="81000" bIns="5400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12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685800">
              <a:spcBef>
                <a:spcPts val="900"/>
              </a:spcBef>
              <a:buClrTx/>
            </a:pPr>
            <a:r>
              <a:rPr lang="de-DE" sz="1050">
                <a:solidFill>
                  <a:srgbClr val="10384F"/>
                </a:solidFill>
                <a:latin typeface="Arial"/>
                <a:cs typeface="Arial"/>
              </a:rPr>
              <a:t>Faster results </a:t>
            </a:r>
          </a:p>
        </p:txBody>
      </p:sp>
      <p:sp>
        <p:nvSpPr>
          <p:cNvPr id="140" name="Text Placeholder 7"/>
          <p:cNvSpPr txBox="1">
            <a:spLocks/>
          </p:cNvSpPr>
          <p:nvPr/>
        </p:nvSpPr>
        <p:spPr bwMode="gray">
          <a:xfrm>
            <a:off x="6389606" y="4561762"/>
            <a:ext cx="2446200" cy="325382"/>
          </a:xfrm>
          <a:prstGeom prst="rect">
            <a:avLst/>
          </a:prstGeom>
          <a:solidFill>
            <a:srgbClr val="DAD6DA"/>
          </a:solidFill>
        </p:spPr>
        <p:txBody>
          <a:bodyPr vert="horz" lIns="81000" tIns="54000" rIns="81000" bIns="5400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12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685800">
              <a:spcBef>
                <a:spcPts val="900"/>
              </a:spcBef>
              <a:buClrTx/>
            </a:pPr>
            <a:r>
              <a:rPr lang="en-US" sz="1050" err="1">
                <a:solidFill>
                  <a:srgbClr val="10384F"/>
                </a:solidFill>
                <a:latin typeface="Arial"/>
                <a:cs typeface="Arial"/>
              </a:rPr>
              <a:t>Bigquery</a:t>
            </a:r>
            <a:r>
              <a:rPr lang="en-US" sz="1050">
                <a:solidFill>
                  <a:srgbClr val="10384F"/>
                </a:solidFill>
                <a:latin typeface="Arial"/>
                <a:cs typeface="Arial"/>
              </a:rPr>
              <a:t> has a great connection with another clouds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/>
              <a:t>Subheadlin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en-US"/>
              <a:t>Main reasons why we should follow with GCP as cloud provider:</a:t>
            </a:r>
          </a:p>
        </p:txBody>
      </p:sp>
      <p:sp>
        <p:nvSpPr>
          <p:cNvPr id="31" name="Line 25"/>
          <p:cNvSpPr>
            <a:spLocks noChangeShapeType="1"/>
          </p:cNvSpPr>
          <p:nvPr/>
        </p:nvSpPr>
        <p:spPr bwMode="gray">
          <a:xfrm>
            <a:off x="5176714" y="4729737"/>
            <a:ext cx="664256" cy="0"/>
          </a:xfrm>
          <a:prstGeom prst="line">
            <a:avLst/>
          </a:prstGeom>
          <a:noFill/>
          <a:ln w="6350" cmpd="sng">
            <a:solidFill>
              <a:schemeClr val="bg2"/>
            </a:solidFill>
            <a:prstDash val="solid"/>
            <a:round/>
            <a:headEnd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buClrTx/>
            </a:pPr>
            <a:endParaRPr lang="de-DE" sz="1350" kern="1200"/>
          </a:p>
        </p:txBody>
      </p:sp>
      <p:sp>
        <p:nvSpPr>
          <p:cNvPr id="33" name="Line 25"/>
          <p:cNvSpPr>
            <a:spLocks noChangeShapeType="1"/>
          </p:cNvSpPr>
          <p:nvPr/>
        </p:nvSpPr>
        <p:spPr bwMode="gray">
          <a:xfrm>
            <a:off x="5840970" y="4732222"/>
            <a:ext cx="390891" cy="0"/>
          </a:xfrm>
          <a:prstGeom prst="line">
            <a:avLst/>
          </a:prstGeom>
          <a:noFill/>
          <a:ln w="6350" cmpd="sng">
            <a:solidFill>
              <a:schemeClr val="bg2"/>
            </a:solidFill>
            <a:prstDash val="solid"/>
            <a:round/>
            <a:headEnd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buClrTx/>
            </a:pPr>
            <a:endParaRPr lang="de-DE" sz="1350" kern="1200"/>
          </a:p>
        </p:txBody>
      </p:sp>
      <p:sp>
        <p:nvSpPr>
          <p:cNvPr id="35" name="Line 24"/>
          <p:cNvSpPr>
            <a:spLocks noChangeShapeType="1"/>
          </p:cNvSpPr>
          <p:nvPr/>
        </p:nvSpPr>
        <p:spPr bwMode="gray">
          <a:xfrm flipH="1" flipV="1">
            <a:off x="2710260" y="1656534"/>
            <a:ext cx="142" cy="3067917"/>
          </a:xfrm>
          <a:prstGeom prst="line">
            <a:avLst/>
          </a:prstGeom>
          <a:noFill/>
          <a:ln w="6350" cmpd="sng">
            <a:solidFill>
              <a:schemeClr val="bg2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buClrTx/>
            </a:pPr>
            <a:endParaRPr lang="de-DE" sz="1350" kern="1200"/>
          </a:p>
        </p:txBody>
      </p:sp>
      <p:sp>
        <p:nvSpPr>
          <p:cNvPr id="36" name="Line 27"/>
          <p:cNvSpPr>
            <a:spLocks noChangeShapeType="1"/>
          </p:cNvSpPr>
          <p:nvPr/>
        </p:nvSpPr>
        <p:spPr bwMode="gray">
          <a:xfrm>
            <a:off x="2710403" y="3998336"/>
            <a:ext cx="390891" cy="0"/>
          </a:xfrm>
          <a:prstGeom prst="line">
            <a:avLst/>
          </a:prstGeom>
          <a:noFill/>
          <a:ln w="6350" cmpd="sng">
            <a:solidFill>
              <a:schemeClr val="bg2"/>
            </a:solidFill>
            <a:prstDash val="solid"/>
            <a:round/>
            <a:headEnd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buClrTx/>
            </a:pPr>
            <a:endParaRPr lang="de-DE" sz="1350" kern="1200"/>
          </a:p>
        </p:txBody>
      </p:sp>
      <p:sp>
        <p:nvSpPr>
          <p:cNvPr id="37" name="Line 26"/>
          <p:cNvSpPr>
            <a:spLocks noChangeShapeType="1"/>
          </p:cNvSpPr>
          <p:nvPr/>
        </p:nvSpPr>
        <p:spPr bwMode="gray">
          <a:xfrm>
            <a:off x="2710402" y="3079104"/>
            <a:ext cx="390892" cy="1"/>
          </a:xfrm>
          <a:prstGeom prst="line">
            <a:avLst/>
          </a:prstGeom>
          <a:noFill/>
          <a:ln w="6350" cmpd="sng">
            <a:solidFill>
              <a:schemeClr val="bg2"/>
            </a:solidFill>
            <a:prstDash val="solid"/>
            <a:round/>
            <a:headEnd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buClrTx/>
            </a:pPr>
            <a:endParaRPr lang="de-DE" sz="1350" kern="1200"/>
          </a:p>
        </p:txBody>
      </p:sp>
      <p:sp>
        <p:nvSpPr>
          <p:cNvPr id="38" name="Line 25"/>
          <p:cNvSpPr>
            <a:spLocks noChangeShapeType="1"/>
          </p:cNvSpPr>
          <p:nvPr/>
        </p:nvSpPr>
        <p:spPr bwMode="gray">
          <a:xfrm>
            <a:off x="2710403" y="2495629"/>
            <a:ext cx="390891" cy="0"/>
          </a:xfrm>
          <a:prstGeom prst="line">
            <a:avLst/>
          </a:prstGeom>
          <a:noFill/>
          <a:ln w="6350" cmpd="sng">
            <a:solidFill>
              <a:schemeClr val="bg2"/>
            </a:solidFill>
            <a:prstDash val="solid"/>
            <a:round/>
            <a:headEnd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buClrTx/>
            </a:pPr>
            <a:endParaRPr lang="de-DE" sz="1350" kern="1200"/>
          </a:p>
        </p:txBody>
      </p:sp>
      <p:sp>
        <p:nvSpPr>
          <p:cNvPr id="39" name="Line 28"/>
          <p:cNvSpPr>
            <a:spLocks noChangeShapeType="1"/>
          </p:cNvSpPr>
          <p:nvPr/>
        </p:nvSpPr>
        <p:spPr bwMode="gray">
          <a:xfrm>
            <a:off x="2710403" y="4731832"/>
            <a:ext cx="390891" cy="0"/>
          </a:xfrm>
          <a:prstGeom prst="line">
            <a:avLst/>
          </a:prstGeom>
          <a:noFill/>
          <a:ln w="6350" cmpd="sng">
            <a:solidFill>
              <a:schemeClr val="bg2"/>
            </a:solidFill>
            <a:prstDash val="solid"/>
            <a:round/>
            <a:headEnd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buClrTx/>
            </a:pPr>
            <a:endParaRPr lang="de-DE" sz="1350" kern="1200"/>
          </a:p>
        </p:txBody>
      </p:sp>
      <p:sp>
        <p:nvSpPr>
          <p:cNvPr id="40" name="Line 25"/>
          <p:cNvSpPr>
            <a:spLocks noChangeShapeType="1"/>
          </p:cNvSpPr>
          <p:nvPr/>
        </p:nvSpPr>
        <p:spPr bwMode="gray">
          <a:xfrm>
            <a:off x="2710403" y="1676372"/>
            <a:ext cx="390891" cy="0"/>
          </a:xfrm>
          <a:prstGeom prst="line">
            <a:avLst/>
          </a:prstGeom>
          <a:noFill/>
          <a:ln w="6350" cmpd="sng">
            <a:solidFill>
              <a:schemeClr val="bg2"/>
            </a:solidFill>
            <a:prstDash val="solid"/>
            <a:round/>
            <a:headEnd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buClrTx/>
            </a:pPr>
            <a:endParaRPr lang="de-DE" sz="1350" kern="1200"/>
          </a:p>
        </p:txBody>
      </p:sp>
      <p:sp>
        <p:nvSpPr>
          <p:cNvPr id="41" name="Line 25"/>
          <p:cNvSpPr>
            <a:spLocks noChangeShapeType="1"/>
          </p:cNvSpPr>
          <p:nvPr/>
        </p:nvSpPr>
        <p:spPr bwMode="gray">
          <a:xfrm>
            <a:off x="5176714" y="2495535"/>
            <a:ext cx="664256" cy="0"/>
          </a:xfrm>
          <a:prstGeom prst="line">
            <a:avLst/>
          </a:prstGeom>
          <a:noFill/>
          <a:ln w="6350" cmpd="sng">
            <a:solidFill>
              <a:schemeClr val="bg2"/>
            </a:solidFill>
            <a:prstDash val="solid"/>
            <a:round/>
            <a:headEnd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buClrTx/>
            </a:pPr>
            <a:endParaRPr lang="de-DE" sz="1350" kern="1200"/>
          </a:p>
        </p:txBody>
      </p:sp>
      <p:sp>
        <p:nvSpPr>
          <p:cNvPr id="42" name="Line 25"/>
          <p:cNvSpPr>
            <a:spLocks noChangeShapeType="1"/>
          </p:cNvSpPr>
          <p:nvPr/>
        </p:nvSpPr>
        <p:spPr bwMode="gray">
          <a:xfrm>
            <a:off x="5176714" y="3251628"/>
            <a:ext cx="664256" cy="0"/>
          </a:xfrm>
          <a:prstGeom prst="line">
            <a:avLst/>
          </a:prstGeom>
          <a:noFill/>
          <a:ln w="6350" cmpd="sng">
            <a:solidFill>
              <a:schemeClr val="bg2"/>
            </a:solidFill>
            <a:prstDash val="solid"/>
            <a:round/>
            <a:headEnd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buClrTx/>
            </a:pPr>
            <a:endParaRPr lang="de-DE" sz="1350" kern="1200"/>
          </a:p>
        </p:txBody>
      </p:sp>
      <p:sp>
        <p:nvSpPr>
          <p:cNvPr id="43" name="Line 25"/>
          <p:cNvSpPr>
            <a:spLocks noChangeShapeType="1"/>
          </p:cNvSpPr>
          <p:nvPr/>
        </p:nvSpPr>
        <p:spPr bwMode="gray">
          <a:xfrm>
            <a:off x="5176714" y="4003452"/>
            <a:ext cx="664256" cy="0"/>
          </a:xfrm>
          <a:prstGeom prst="line">
            <a:avLst/>
          </a:prstGeom>
          <a:noFill/>
          <a:ln w="6350" cmpd="sng">
            <a:solidFill>
              <a:schemeClr val="bg2"/>
            </a:solidFill>
            <a:prstDash val="solid"/>
            <a:round/>
            <a:headEnd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buClrTx/>
            </a:pPr>
            <a:endParaRPr lang="de-DE" sz="1350" kern="1200"/>
          </a:p>
        </p:txBody>
      </p:sp>
      <p:sp>
        <p:nvSpPr>
          <p:cNvPr id="44" name="Line 25"/>
          <p:cNvSpPr>
            <a:spLocks noChangeShapeType="1"/>
          </p:cNvSpPr>
          <p:nvPr/>
        </p:nvSpPr>
        <p:spPr bwMode="gray">
          <a:xfrm>
            <a:off x="5840971" y="2495535"/>
            <a:ext cx="390891" cy="0"/>
          </a:xfrm>
          <a:prstGeom prst="line">
            <a:avLst/>
          </a:prstGeom>
          <a:noFill/>
          <a:ln w="6350" cmpd="sng">
            <a:solidFill>
              <a:schemeClr val="bg2"/>
            </a:solidFill>
            <a:prstDash val="solid"/>
            <a:round/>
            <a:headEnd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buClrTx/>
            </a:pPr>
            <a:endParaRPr lang="de-DE" sz="1350" kern="1200"/>
          </a:p>
        </p:txBody>
      </p:sp>
      <p:sp>
        <p:nvSpPr>
          <p:cNvPr id="45" name="Line 25"/>
          <p:cNvSpPr>
            <a:spLocks noChangeShapeType="1"/>
          </p:cNvSpPr>
          <p:nvPr/>
        </p:nvSpPr>
        <p:spPr bwMode="gray">
          <a:xfrm>
            <a:off x="5840971" y="2756337"/>
            <a:ext cx="390891" cy="0"/>
          </a:xfrm>
          <a:prstGeom prst="line">
            <a:avLst/>
          </a:prstGeom>
          <a:noFill/>
          <a:ln w="6350" cmpd="sng">
            <a:solidFill>
              <a:schemeClr val="bg2"/>
            </a:solidFill>
            <a:prstDash val="solid"/>
            <a:round/>
            <a:headEnd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buClrTx/>
            </a:pPr>
            <a:endParaRPr lang="de-DE" sz="1350" kern="1200"/>
          </a:p>
        </p:txBody>
      </p:sp>
      <p:sp>
        <p:nvSpPr>
          <p:cNvPr id="46" name="Line 24"/>
          <p:cNvSpPr>
            <a:spLocks noChangeShapeType="1"/>
          </p:cNvSpPr>
          <p:nvPr/>
        </p:nvSpPr>
        <p:spPr bwMode="gray">
          <a:xfrm flipV="1">
            <a:off x="5840970" y="2231361"/>
            <a:ext cx="0" cy="524977"/>
          </a:xfrm>
          <a:prstGeom prst="line">
            <a:avLst/>
          </a:prstGeom>
          <a:noFill/>
          <a:ln w="6350" cmpd="sng">
            <a:solidFill>
              <a:schemeClr val="bg2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buClrTx/>
            </a:pPr>
            <a:endParaRPr lang="de-DE" sz="1350" kern="1200"/>
          </a:p>
        </p:txBody>
      </p:sp>
      <p:sp>
        <p:nvSpPr>
          <p:cNvPr id="47" name="Line 25"/>
          <p:cNvSpPr>
            <a:spLocks noChangeShapeType="1"/>
          </p:cNvSpPr>
          <p:nvPr/>
        </p:nvSpPr>
        <p:spPr bwMode="gray">
          <a:xfrm>
            <a:off x="5840971" y="2231361"/>
            <a:ext cx="390891" cy="0"/>
          </a:xfrm>
          <a:prstGeom prst="line">
            <a:avLst/>
          </a:prstGeom>
          <a:noFill/>
          <a:ln w="6350" cmpd="sng">
            <a:solidFill>
              <a:schemeClr val="bg2"/>
            </a:solidFill>
            <a:prstDash val="solid"/>
            <a:round/>
            <a:headEnd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buClrTx/>
            </a:pPr>
            <a:endParaRPr lang="de-DE" sz="1350" kern="1200"/>
          </a:p>
        </p:txBody>
      </p:sp>
      <p:sp>
        <p:nvSpPr>
          <p:cNvPr id="76" name="Line 25"/>
          <p:cNvSpPr>
            <a:spLocks noChangeShapeType="1"/>
          </p:cNvSpPr>
          <p:nvPr/>
        </p:nvSpPr>
        <p:spPr bwMode="gray">
          <a:xfrm>
            <a:off x="5848115" y="3124872"/>
            <a:ext cx="390891" cy="0"/>
          </a:xfrm>
          <a:prstGeom prst="line">
            <a:avLst/>
          </a:prstGeom>
          <a:noFill/>
          <a:ln w="6350" cmpd="sng">
            <a:solidFill>
              <a:schemeClr val="bg2"/>
            </a:solidFill>
            <a:prstDash val="solid"/>
            <a:round/>
            <a:headEnd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buClrTx/>
            </a:pPr>
            <a:endParaRPr lang="de-DE" sz="1350" kern="1200"/>
          </a:p>
        </p:txBody>
      </p:sp>
      <p:sp>
        <p:nvSpPr>
          <p:cNvPr id="77" name="Line 25"/>
          <p:cNvSpPr>
            <a:spLocks noChangeShapeType="1"/>
          </p:cNvSpPr>
          <p:nvPr/>
        </p:nvSpPr>
        <p:spPr bwMode="gray">
          <a:xfrm>
            <a:off x="5840970" y="4127413"/>
            <a:ext cx="390891" cy="0"/>
          </a:xfrm>
          <a:prstGeom prst="line">
            <a:avLst/>
          </a:prstGeom>
          <a:noFill/>
          <a:ln w="6350" cmpd="sng">
            <a:solidFill>
              <a:schemeClr val="bg2"/>
            </a:solidFill>
            <a:prstDash val="solid"/>
            <a:round/>
            <a:headEnd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buClrTx/>
            </a:pPr>
            <a:endParaRPr lang="de-DE" sz="1350" kern="1200"/>
          </a:p>
        </p:txBody>
      </p:sp>
      <p:sp>
        <p:nvSpPr>
          <p:cNvPr id="80" name="Line 25"/>
          <p:cNvSpPr>
            <a:spLocks noChangeShapeType="1"/>
          </p:cNvSpPr>
          <p:nvPr/>
        </p:nvSpPr>
        <p:spPr bwMode="gray">
          <a:xfrm>
            <a:off x="5840971" y="3874370"/>
            <a:ext cx="390891" cy="0"/>
          </a:xfrm>
          <a:prstGeom prst="line">
            <a:avLst/>
          </a:prstGeom>
          <a:noFill/>
          <a:ln w="6350" cmpd="sng">
            <a:solidFill>
              <a:schemeClr val="bg2"/>
            </a:solidFill>
            <a:prstDash val="solid"/>
            <a:round/>
            <a:headEnd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buClrTx/>
            </a:pPr>
            <a:endParaRPr lang="de-DE" sz="1350" kern="1200"/>
          </a:p>
        </p:txBody>
      </p:sp>
      <p:sp>
        <p:nvSpPr>
          <p:cNvPr id="81" name="Line 25"/>
          <p:cNvSpPr>
            <a:spLocks noChangeShapeType="1"/>
          </p:cNvSpPr>
          <p:nvPr/>
        </p:nvSpPr>
        <p:spPr bwMode="gray">
          <a:xfrm>
            <a:off x="5176714" y="1604971"/>
            <a:ext cx="664256" cy="0"/>
          </a:xfrm>
          <a:prstGeom prst="line">
            <a:avLst/>
          </a:prstGeom>
          <a:noFill/>
          <a:ln w="6350" cmpd="sng">
            <a:solidFill>
              <a:schemeClr val="bg2"/>
            </a:solidFill>
            <a:prstDash val="solid"/>
            <a:round/>
            <a:headEnd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buClrTx/>
            </a:pPr>
            <a:endParaRPr lang="de-DE" sz="1350" kern="1200"/>
          </a:p>
        </p:txBody>
      </p:sp>
      <p:grpSp>
        <p:nvGrpSpPr>
          <p:cNvPr id="105" name="Group 102"/>
          <p:cNvGrpSpPr/>
          <p:nvPr/>
        </p:nvGrpSpPr>
        <p:grpSpPr bwMode="gray">
          <a:xfrm>
            <a:off x="5418014" y="2395083"/>
            <a:ext cx="197100" cy="197531"/>
            <a:chOff x="4037357" y="1631055"/>
            <a:chExt cx="252000" cy="252000"/>
          </a:xfrm>
          <a:solidFill>
            <a:schemeClr val="accent2"/>
          </a:solidFill>
        </p:grpSpPr>
        <p:sp>
          <p:nvSpPr>
            <p:cNvPr id="106" name="Text Placeholder 6"/>
            <p:cNvSpPr txBox="1">
              <a:spLocks/>
            </p:cNvSpPr>
            <p:nvPr/>
          </p:nvSpPr>
          <p:spPr bwMode="gray">
            <a:xfrm>
              <a:off x="4037357" y="1631055"/>
              <a:ext cx="252000" cy="252000"/>
            </a:xfrm>
            <a:prstGeom prst="ellipse">
              <a:avLst/>
            </a:prstGeom>
            <a:solidFill>
              <a:schemeClr val="accent4"/>
            </a:solidFill>
          </p:spPr>
          <p:txBody>
            <a:bodyPr lIns="81000" tIns="54000" rIns="81000" bIns="54000" anchor="ctr"/>
            <a:lstStyle>
              <a:lvl1pPr marL="0" indent="0" algn="l" defTabSz="1221456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accent2"/>
                </a:buClr>
                <a:buSzPct val="110000"/>
                <a:buFont typeface="Arial" pitchFamily="34" charset="0"/>
                <a:buNone/>
                <a:defRPr sz="14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1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rgbClr val="6BC200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5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6pPr>
              <a:lvl7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7pPr>
              <a:lvl8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8pPr>
              <a:lvl9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6092">
                <a:spcBef>
                  <a:spcPts val="225"/>
                </a:spcBef>
                <a:spcAft>
                  <a:spcPts val="225"/>
                </a:spcAft>
                <a:buClr>
                  <a:srgbClr val="00BCFF"/>
                </a:buClr>
              </a:pPr>
              <a:endParaRPr lang="de-DE" sz="105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107" name="Rectangle 82"/>
            <p:cNvSpPr/>
            <p:nvPr/>
          </p:nvSpPr>
          <p:spPr bwMode="gray">
            <a:xfrm rot="5400000">
              <a:off x="4091357" y="1685055"/>
              <a:ext cx="144000" cy="144000"/>
            </a:xfrm>
            <a:custGeom>
              <a:avLst/>
              <a:gdLst/>
              <a:ahLst/>
              <a:cxnLst/>
              <a:rect l="l" t="t" r="r" b="b"/>
              <a:pathLst>
                <a:path w="144000" h="144000">
                  <a:moveTo>
                    <a:pt x="0" y="90000"/>
                  </a:moveTo>
                  <a:lnTo>
                    <a:pt x="0" y="54000"/>
                  </a:lnTo>
                  <a:lnTo>
                    <a:pt x="54000" y="54000"/>
                  </a:lnTo>
                  <a:lnTo>
                    <a:pt x="54000" y="0"/>
                  </a:lnTo>
                  <a:lnTo>
                    <a:pt x="90000" y="0"/>
                  </a:lnTo>
                  <a:lnTo>
                    <a:pt x="90000" y="54000"/>
                  </a:lnTo>
                  <a:lnTo>
                    <a:pt x="144000" y="54000"/>
                  </a:lnTo>
                  <a:lnTo>
                    <a:pt x="144000" y="90000"/>
                  </a:lnTo>
                  <a:lnTo>
                    <a:pt x="90000" y="90000"/>
                  </a:lnTo>
                  <a:lnTo>
                    <a:pt x="90000" y="144000"/>
                  </a:lnTo>
                  <a:lnTo>
                    <a:pt x="54000" y="144000"/>
                  </a:lnTo>
                  <a:lnTo>
                    <a:pt x="54000" y="90000"/>
                  </a:lnTo>
                  <a:close/>
                </a:path>
              </a:pathLst>
            </a:custGeom>
            <a:solidFill>
              <a:srgbClr val="EFEDE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800">
                <a:buClrTx/>
              </a:pPr>
              <a:endParaRPr lang="de-DE" sz="1350" kern="1200" err="1"/>
            </a:p>
          </p:txBody>
        </p:sp>
      </p:grpSp>
      <p:grpSp>
        <p:nvGrpSpPr>
          <p:cNvPr id="111" name="Group 108"/>
          <p:cNvGrpSpPr/>
          <p:nvPr/>
        </p:nvGrpSpPr>
        <p:grpSpPr bwMode="gray">
          <a:xfrm>
            <a:off x="5418014" y="3154458"/>
            <a:ext cx="197100" cy="197531"/>
            <a:chOff x="4037357" y="1631055"/>
            <a:chExt cx="252000" cy="252000"/>
          </a:xfrm>
          <a:solidFill>
            <a:schemeClr val="accent2"/>
          </a:solidFill>
        </p:grpSpPr>
        <p:sp>
          <p:nvSpPr>
            <p:cNvPr id="112" name="Text Placeholder 6"/>
            <p:cNvSpPr txBox="1">
              <a:spLocks/>
            </p:cNvSpPr>
            <p:nvPr/>
          </p:nvSpPr>
          <p:spPr bwMode="gray">
            <a:xfrm>
              <a:off x="4037357" y="1631055"/>
              <a:ext cx="252000" cy="252000"/>
            </a:xfrm>
            <a:prstGeom prst="ellipse">
              <a:avLst/>
            </a:prstGeom>
            <a:solidFill>
              <a:schemeClr val="accent4"/>
            </a:solidFill>
          </p:spPr>
          <p:txBody>
            <a:bodyPr lIns="81000" tIns="54000" rIns="81000" bIns="54000" anchor="ctr"/>
            <a:lstStyle>
              <a:lvl1pPr marL="0" indent="0" algn="l" defTabSz="1221456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accent2"/>
                </a:buClr>
                <a:buSzPct val="110000"/>
                <a:buFont typeface="Arial" pitchFamily="34" charset="0"/>
                <a:buNone/>
                <a:defRPr sz="14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1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rgbClr val="6BC200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5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6pPr>
              <a:lvl7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7pPr>
              <a:lvl8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8pPr>
              <a:lvl9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6092">
                <a:spcBef>
                  <a:spcPts val="225"/>
                </a:spcBef>
                <a:spcAft>
                  <a:spcPts val="225"/>
                </a:spcAft>
                <a:buClr>
                  <a:srgbClr val="00BCFF"/>
                </a:buClr>
              </a:pPr>
              <a:endParaRPr lang="de-DE" sz="105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113" name="Rectangle 82"/>
            <p:cNvSpPr/>
            <p:nvPr/>
          </p:nvSpPr>
          <p:spPr bwMode="gray">
            <a:xfrm rot="5400000">
              <a:off x="4091357" y="1685055"/>
              <a:ext cx="144000" cy="144000"/>
            </a:xfrm>
            <a:custGeom>
              <a:avLst/>
              <a:gdLst/>
              <a:ahLst/>
              <a:cxnLst/>
              <a:rect l="l" t="t" r="r" b="b"/>
              <a:pathLst>
                <a:path w="144000" h="144000">
                  <a:moveTo>
                    <a:pt x="0" y="90000"/>
                  </a:moveTo>
                  <a:lnTo>
                    <a:pt x="0" y="54000"/>
                  </a:lnTo>
                  <a:lnTo>
                    <a:pt x="54000" y="54000"/>
                  </a:lnTo>
                  <a:lnTo>
                    <a:pt x="54000" y="0"/>
                  </a:lnTo>
                  <a:lnTo>
                    <a:pt x="90000" y="0"/>
                  </a:lnTo>
                  <a:lnTo>
                    <a:pt x="90000" y="54000"/>
                  </a:lnTo>
                  <a:lnTo>
                    <a:pt x="144000" y="54000"/>
                  </a:lnTo>
                  <a:lnTo>
                    <a:pt x="144000" y="90000"/>
                  </a:lnTo>
                  <a:lnTo>
                    <a:pt x="90000" y="90000"/>
                  </a:lnTo>
                  <a:lnTo>
                    <a:pt x="90000" y="144000"/>
                  </a:lnTo>
                  <a:lnTo>
                    <a:pt x="54000" y="144000"/>
                  </a:lnTo>
                  <a:lnTo>
                    <a:pt x="54000" y="90000"/>
                  </a:lnTo>
                  <a:close/>
                </a:path>
              </a:pathLst>
            </a:custGeom>
            <a:solidFill>
              <a:srgbClr val="EFEDE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800">
                <a:buClrTx/>
              </a:pPr>
              <a:endParaRPr lang="de-DE" sz="1350" kern="1200" err="1"/>
            </a:p>
          </p:txBody>
        </p:sp>
      </p:grpSp>
      <p:grpSp>
        <p:nvGrpSpPr>
          <p:cNvPr id="114" name="Group 111"/>
          <p:cNvGrpSpPr/>
          <p:nvPr/>
        </p:nvGrpSpPr>
        <p:grpSpPr bwMode="gray">
          <a:xfrm>
            <a:off x="5418014" y="4633066"/>
            <a:ext cx="197100" cy="197531"/>
            <a:chOff x="4037357" y="1631055"/>
            <a:chExt cx="252000" cy="252000"/>
          </a:xfrm>
          <a:solidFill>
            <a:schemeClr val="accent2"/>
          </a:solidFill>
        </p:grpSpPr>
        <p:sp>
          <p:nvSpPr>
            <p:cNvPr id="115" name="Text Placeholder 6"/>
            <p:cNvSpPr txBox="1">
              <a:spLocks/>
            </p:cNvSpPr>
            <p:nvPr/>
          </p:nvSpPr>
          <p:spPr bwMode="gray">
            <a:xfrm>
              <a:off x="4037357" y="1631055"/>
              <a:ext cx="252000" cy="252000"/>
            </a:xfrm>
            <a:prstGeom prst="ellipse">
              <a:avLst/>
            </a:prstGeom>
            <a:solidFill>
              <a:schemeClr val="accent4"/>
            </a:solidFill>
          </p:spPr>
          <p:txBody>
            <a:bodyPr lIns="81000" tIns="54000" rIns="81000" bIns="54000" anchor="ctr"/>
            <a:lstStyle>
              <a:lvl1pPr marL="0" indent="0" algn="l" defTabSz="1221456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accent2"/>
                </a:buClr>
                <a:buSzPct val="110000"/>
                <a:buFont typeface="Arial" pitchFamily="34" charset="0"/>
                <a:buNone/>
                <a:defRPr sz="14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1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rgbClr val="6BC200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5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6pPr>
              <a:lvl7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7pPr>
              <a:lvl8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8pPr>
              <a:lvl9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6092">
                <a:spcBef>
                  <a:spcPts val="225"/>
                </a:spcBef>
                <a:spcAft>
                  <a:spcPts val="225"/>
                </a:spcAft>
                <a:buClr>
                  <a:srgbClr val="00BCFF"/>
                </a:buClr>
              </a:pPr>
              <a:endParaRPr lang="de-DE" sz="105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116" name="Rectangle 82"/>
            <p:cNvSpPr/>
            <p:nvPr/>
          </p:nvSpPr>
          <p:spPr bwMode="gray">
            <a:xfrm rot="5400000">
              <a:off x="4091357" y="1685055"/>
              <a:ext cx="144000" cy="144000"/>
            </a:xfrm>
            <a:custGeom>
              <a:avLst/>
              <a:gdLst/>
              <a:ahLst/>
              <a:cxnLst/>
              <a:rect l="l" t="t" r="r" b="b"/>
              <a:pathLst>
                <a:path w="144000" h="144000">
                  <a:moveTo>
                    <a:pt x="0" y="90000"/>
                  </a:moveTo>
                  <a:lnTo>
                    <a:pt x="0" y="54000"/>
                  </a:lnTo>
                  <a:lnTo>
                    <a:pt x="54000" y="54000"/>
                  </a:lnTo>
                  <a:lnTo>
                    <a:pt x="54000" y="0"/>
                  </a:lnTo>
                  <a:lnTo>
                    <a:pt x="90000" y="0"/>
                  </a:lnTo>
                  <a:lnTo>
                    <a:pt x="90000" y="54000"/>
                  </a:lnTo>
                  <a:lnTo>
                    <a:pt x="144000" y="54000"/>
                  </a:lnTo>
                  <a:lnTo>
                    <a:pt x="144000" y="90000"/>
                  </a:lnTo>
                  <a:lnTo>
                    <a:pt x="90000" y="90000"/>
                  </a:lnTo>
                  <a:lnTo>
                    <a:pt x="90000" y="144000"/>
                  </a:lnTo>
                  <a:lnTo>
                    <a:pt x="54000" y="144000"/>
                  </a:lnTo>
                  <a:lnTo>
                    <a:pt x="54000" y="90000"/>
                  </a:lnTo>
                  <a:close/>
                </a:path>
              </a:pathLst>
            </a:custGeom>
            <a:solidFill>
              <a:srgbClr val="EFEDE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800">
                <a:buClrTx/>
              </a:pPr>
              <a:endParaRPr lang="de-DE" sz="1350" kern="1200" err="1"/>
            </a:p>
          </p:txBody>
        </p:sp>
      </p:grp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buClrTx/>
            </a:pPr>
            <a:fld id="{EEAD9179-7A6B-4268-BEB2-F3B8EB06115B}" type="slidenum">
              <a:rPr lang="de-DE" kern="1200">
                <a:solidFill>
                  <a:srgbClr val="00BCFF"/>
                </a:solidFill>
              </a:rPr>
              <a:pPr defTabSz="685800">
                <a:buClrTx/>
              </a:pPr>
              <a:t>1</a:t>
            </a:fld>
            <a:endParaRPr lang="de-DE" kern="1200">
              <a:solidFill>
                <a:srgbClr val="00BCFF"/>
              </a:solidFill>
            </a:endParaRPr>
          </a:p>
        </p:txBody>
      </p:sp>
      <p:grpSp>
        <p:nvGrpSpPr>
          <p:cNvPr id="4" name="Group 108">
            <a:extLst>
              <a:ext uri="{FF2B5EF4-FFF2-40B4-BE49-F238E27FC236}">
                <a16:creationId xmlns:a16="http://schemas.microsoft.com/office/drawing/2014/main" id="{2068D8B2-BE6A-7870-846E-46BB1B39F17E}"/>
              </a:ext>
            </a:extLst>
          </p:cNvPr>
          <p:cNvGrpSpPr/>
          <p:nvPr/>
        </p:nvGrpSpPr>
        <p:grpSpPr bwMode="gray">
          <a:xfrm>
            <a:off x="5410292" y="1501333"/>
            <a:ext cx="197100" cy="197531"/>
            <a:chOff x="4037357" y="1631055"/>
            <a:chExt cx="252000" cy="252000"/>
          </a:xfrm>
          <a:solidFill>
            <a:schemeClr val="accent2"/>
          </a:solidFill>
        </p:grpSpPr>
        <p:sp>
          <p:nvSpPr>
            <p:cNvPr id="5" name="Text Placeholder 6">
              <a:extLst>
                <a:ext uri="{FF2B5EF4-FFF2-40B4-BE49-F238E27FC236}">
                  <a16:creationId xmlns:a16="http://schemas.microsoft.com/office/drawing/2014/main" id="{8F2D7848-9CDC-6461-DFED-66A38888135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037357" y="1631055"/>
              <a:ext cx="252000" cy="252000"/>
            </a:xfrm>
            <a:prstGeom prst="ellipse">
              <a:avLst/>
            </a:prstGeom>
            <a:solidFill>
              <a:schemeClr val="accent4"/>
            </a:solidFill>
          </p:spPr>
          <p:txBody>
            <a:bodyPr lIns="81000" tIns="54000" rIns="81000" bIns="54000" anchor="ctr"/>
            <a:lstStyle>
              <a:lvl1pPr marL="0" indent="0" algn="l" defTabSz="1221456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accent2"/>
                </a:buClr>
                <a:buSzPct val="110000"/>
                <a:buFont typeface="Arial" pitchFamily="34" charset="0"/>
                <a:buNone/>
                <a:defRPr sz="14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1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rgbClr val="6BC200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5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6pPr>
              <a:lvl7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7pPr>
              <a:lvl8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8pPr>
              <a:lvl9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6092">
                <a:spcBef>
                  <a:spcPts val="225"/>
                </a:spcBef>
                <a:spcAft>
                  <a:spcPts val="225"/>
                </a:spcAft>
                <a:buClr>
                  <a:srgbClr val="00BCFF"/>
                </a:buClr>
              </a:pPr>
              <a:endParaRPr lang="de-DE" sz="105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6" name="Rectangle 82">
              <a:extLst>
                <a:ext uri="{FF2B5EF4-FFF2-40B4-BE49-F238E27FC236}">
                  <a16:creationId xmlns:a16="http://schemas.microsoft.com/office/drawing/2014/main" id="{AF016A93-1535-8E73-584B-BDF1BC38D093}"/>
                </a:ext>
              </a:extLst>
            </p:cNvPr>
            <p:cNvSpPr/>
            <p:nvPr/>
          </p:nvSpPr>
          <p:spPr bwMode="gray">
            <a:xfrm rot="5400000">
              <a:off x="4091357" y="1685055"/>
              <a:ext cx="144000" cy="144000"/>
            </a:xfrm>
            <a:custGeom>
              <a:avLst/>
              <a:gdLst/>
              <a:ahLst/>
              <a:cxnLst/>
              <a:rect l="l" t="t" r="r" b="b"/>
              <a:pathLst>
                <a:path w="144000" h="144000">
                  <a:moveTo>
                    <a:pt x="0" y="90000"/>
                  </a:moveTo>
                  <a:lnTo>
                    <a:pt x="0" y="54000"/>
                  </a:lnTo>
                  <a:lnTo>
                    <a:pt x="54000" y="54000"/>
                  </a:lnTo>
                  <a:lnTo>
                    <a:pt x="54000" y="0"/>
                  </a:lnTo>
                  <a:lnTo>
                    <a:pt x="90000" y="0"/>
                  </a:lnTo>
                  <a:lnTo>
                    <a:pt x="90000" y="54000"/>
                  </a:lnTo>
                  <a:lnTo>
                    <a:pt x="144000" y="54000"/>
                  </a:lnTo>
                  <a:lnTo>
                    <a:pt x="144000" y="90000"/>
                  </a:lnTo>
                  <a:lnTo>
                    <a:pt x="90000" y="90000"/>
                  </a:lnTo>
                  <a:lnTo>
                    <a:pt x="90000" y="144000"/>
                  </a:lnTo>
                  <a:lnTo>
                    <a:pt x="54000" y="144000"/>
                  </a:lnTo>
                  <a:lnTo>
                    <a:pt x="54000" y="90000"/>
                  </a:lnTo>
                  <a:close/>
                </a:path>
              </a:pathLst>
            </a:custGeom>
            <a:solidFill>
              <a:srgbClr val="EFEDE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800">
                <a:buClrTx/>
              </a:pPr>
              <a:endParaRPr lang="de-DE" sz="1350" kern="1200" err="1"/>
            </a:p>
          </p:txBody>
        </p:sp>
      </p:grpSp>
      <p:sp>
        <p:nvSpPr>
          <p:cNvPr id="7" name="Line 24">
            <a:extLst>
              <a:ext uri="{FF2B5EF4-FFF2-40B4-BE49-F238E27FC236}">
                <a16:creationId xmlns:a16="http://schemas.microsoft.com/office/drawing/2014/main" id="{C82CB51D-F1C7-6EF2-9D64-36F193BF2A35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5840971" y="3879871"/>
            <a:ext cx="0" cy="247163"/>
          </a:xfrm>
          <a:prstGeom prst="line">
            <a:avLst/>
          </a:prstGeom>
          <a:noFill/>
          <a:ln w="6350" cmpd="sng">
            <a:solidFill>
              <a:schemeClr val="bg2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buClrTx/>
            </a:pPr>
            <a:endParaRPr lang="de-DE" sz="1350" kern="1200"/>
          </a:p>
        </p:txBody>
      </p:sp>
      <p:grpSp>
        <p:nvGrpSpPr>
          <p:cNvPr id="8" name="Group 108">
            <a:extLst>
              <a:ext uri="{FF2B5EF4-FFF2-40B4-BE49-F238E27FC236}">
                <a16:creationId xmlns:a16="http://schemas.microsoft.com/office/drawing/2014/main" id="{3C1D764D-AFDD-B02A-C293-9E7DBA81A611}"/>
              </a:ext>
            </a:extLst>
          </p:cNvPr>
          <p:cNvGrpSpPr/>
          <p:nvPr/>
        </p:nvGrpSpPr>
        <p:grpSpPr bwMode="gray">
          <a:xfrm>
            <a:off x="5410292" y="3904525"/>
            <a:ext cx="197100" cy="197531"/>
            <a:chOff x="4037357" y="1631055"/>
            <a:chExt cx="252000" cy="252000"/>
          </a:xfrm>
          <a:solidFill>
            <a:schemeClr val="accent2"/>
          </a:solidFill>
        </p:grpSpPr>
        <p:sp>
          <p:nvSpPr>
            <p:cNvPr id="9" name="Text Placeholder 6">
              <a:extLst>
                <a:ext uri="{FF2B5EF4-FFF2-40B4-BE49-F238E27FC236}">
                  <a16:creationId xmlns:a16="http://schemas.microsoft.com/office/drawing/2014/main" id="{C970CDF9-6D10-8F80-5ADE-E46F63241DC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037357" y="1631055"/>
              <a:ext cx="252000" cy="252000"/>
            </a:xfrm>
            <a:prstGeom prst="ellipse">
              <a:avLst/>
            </a:prstGeom>
            <a:solidFill>
              <a:schemeClr val="accent4"/>
            </a:solidFill>
          </p:spPr>
          <p:txBody>
            <a:bodyPr lIns="81000" tIns="54000" rIns="81000" bIns="54000" anchor="ctr"/>
            <a:lstStyle>
              <a:lvl1pPr marL="0" indent="0" algn="l" defTabSz="1221456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accent2"/>
                </a:buClr>
                <a:buSzPct val="110000"/>
                <a:buFont typeface="Arial" pitchFamily="34" charset="0"/>
                <a:buNone/>
                <a:defRPr sz="14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1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rgbClr val="6BC200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5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6pPr>
              <a:lvl7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7pPr>
              <a:lvl8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8pPr>
              <a:lvl9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6092">
                <a:spcBef>
                  <a:spcPts val="225"/>
                </a:spcBef>
                <a:spcAft>
                  <a:spcPts val="225"/>
                </a:spcAft>
                <a:buClr>
                  <a:srgbClr val="00BCFF"/>
                </a:buClr>
              </a:pPr>
              <a:endParaRPr lang="de-DE" sz="105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10" name="Rectangle 82">
              <a:extLst>
                <a:ext uri="{FF2B5EF4-FFF2-40B4-BE49-F238E27FC236}">
                  <a16:creationId xmlns:a16="http://schemas.microsoft.com/office/drawing/2014/main" id="{3CFEC452-72D0-0522-07D6-7741AFDD2998}"/>
                </a:ext>
              </a:extLst>
            </p:cNvPr>
            <p:cNvSpPr/>
            <p:nvPr/>
          </p:nvSpPr>
          <p:spPr bwMode="gray">
            <a:xfrm rot="5400000">
              <a:off x="4091357" y="1685055"/>
              <a:ext cx="144000" cy="144000"/>
            </a:xfrm>
            <a:custGeom>
              <a:avLst/>
              <a:gdLst/>
              <a:ahLst/>
              <a:cxnLst/>
              <a:rect l="l" t="t" r="r" b="b"/>
              <a:pathLst>
                <a:path w="144000" h="144000">
                  <a:moveTo>
                    <a:pt x="0" y="90000"/>
                  </a:moveTo>
                  <a:lnTo>
                    <a:pt x="0" y="54000"/>
                  </a:lnTo>
                  <a:lnTo>
                    <a:pt x="54000" y="54000"/>
                  </a:lnTo>
                  <a:lnTo>
                    <a:pt x="54000" y="0"/>
                  </a:lnTo>
                  <a:lnTo>
                    <a:pt x="90000" y="0"/>
                  </a:lnTo>
                  <a:lnTo>
                    <a:pt x="90000" y="54000"/>
                  </a:lnTo>
                  <a:lnTo>
                    <a:pt x="144000" y="54000"/>
                  </a:lnTo>
                  <a:lnTo>
                    <a:pt x="144000" y="90000"/>
                  </a:lnTo>
                  <a:lnTo>
                    <a:pt x="90000" y="90000"/>
                  </a:lnTo>
                  <a:lnTo>
                    <a:pt x="90000" y="144000"/>
                  </a:lnTo>
                  <a:lnTo>
                    <a:pt x="54000" y="144000"/>
                  </a:lnTo>
                  <a:lnTo>
                    <a:pt x="54000" y="90000"/>
                  </a:lnTo>
                  <a:close/>
                </a:path>
              </a:pathLst>
            </a:custGeom>
            <a:solidFill>
              <a:srgbClr val="EFEDE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800">
                <a:buClrTx/>
              </a:pPr>
              <a:endParaRPr lang="de-DE" sz="1350" kern="1200" err="1"/>
            </a:p>
          </p:txBody>
        </p:sp>
      </p:grpSp>
      <p:sp>
        <p:nvSpPr>
          <p:cNvPr id="13" name="Line 24">
            <a:extLst>
              <a:ext uri="{FF2B5EF4-FFF2-40B4-BE49-F238E27FC236}">
                <a16:creationId xmlns:a16="http://schemas.microsoft.com/office/drawing/2014/main" id="{6E64626C-4D42-085E-E924-C4B360BC19D1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5854610" y="3118624"/>
            <a:ext cx="0" cy="247163"/>
          </a:xfrm>
          <a:prstGeom prst="line">
            <a:avLst/>
          </a:prstGeom>
          <a:noFill/>
          <a:ln w="6350" cmpd="sng">
            <a:solidFill>
              <a:schemeClr val="bg2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buClrTx/>
            </a:pPr>
            <a:endParaRPr lang="de-DE" sz="1350" kern="1200"/>
          </a:p>
        </p:txBody>
      </p:sp>
      <p:sp>
        <p:nvSpPr>
          <p:cNvPr id="15" name="Line 25">
            <a:extLst>
              <a:ext uri="{FF2B5EF4-FFF2-40B4-BE49-F238E27FC236}">
                <a16:creationId xmlns:a16="http://schemas.microsoft.com/office/drawing/2014/main" id="{F66EC2BC-64C1-2FD4-9264-E766D88E0043}"/>
              </a:ext>
            </a:extLst>
          </p:cNvPr>
          <p:cNvSpPr>
            <a:spLocks noChangeShapeType="1"/>
          </p:cNvSpPr>
          <p:nvPr/>
        </p:nvSpPr>
        <p:spPr bwMode="gray">
          <a:xfrm>
            <a:off x="5848115" y="3374903"/>
            <a:ext cx="390891" cy="0"/>
          </a:xfrm>
          <a:prstGeom prst="line">
            <a:avLst/>
          </a:prstGeom>
          <a:noFill/>
          <a:ln w="6350" cmpd="sng">
            <a:solidFill>
              <a:schemeClr val="bg2"/>
            </a:solidFill>
            <a:prstDash val="solid"/>
            <a:round/>
            <a:headEnd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buClrTx/>
            </a:pPr>
            <a:endParaRPr lang="de-DE" sz="1350" kern="1200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7A96C932-35EC-2E9D-58C8-5432B29FAB6F}"/>
              </a:ext>
            </a:extLst>
          </p:cNvPr>
          <p:cNvSpPr txBox="1">
            <a:spLocks/>
          </p:cNvSpPr>
          <p:nvPr/>
        </p:nvSpPr>
        <p:spPr bwMode="gray">
          <a:xfrm>
            <a:off x="6390055" y="1253999"/>
            <a:ext cx="2446200" cy="189000"/>
          </a:xfrm>
          <a:prstGeom prst="rect">
            <a:avLst/>
          </a:prstGeom>
          <a:solidFill>
            <a:srgbClr val="DAD6DA"/>
          </a:solidFill>
        </p:spPr>
        <p:txBody>
          <a:bodyPr vert="horz" lIns="81000" tIns="54000" rIns="81000" bIns="5400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12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685800">
              <a:spcBef>
                <a:spcPts val="900"/>
              </a:spcBef>
              <a:buClrTx/>
            </a:pPr>
            <a:r>
              <a:rPr lang="en-US" sz="1050">
                <a:solidFill>
                  <a:srgbClr val="10384F"/>
                </a:solidFill>
                <a:latin typeface="Arial"/>
                <a:cs typeface="Arial"/>
              </a:rPr>
              <a:t>Smaller learning curve.</a:t>
            </a:r>
            <a:endParaRPr lang="de-DE" sz="1050">
              <a:solidFill>
                <a:srgbClr val="10384F"/>
              </a:solidFill>
              <a:latin typeface="Arial"/>
              <a:cs typeface="Arial"/>
            </a:endParaRPr>
          </a:p>
        </p:txBody>
      </p:sp>
      <p:sp>
        <p:nvSpPr>
          <p:cNvPr id="19" name="Line 25">
            <a:extLst>
              <a:ext uri="{FF2B5EF4-FFF2-40B4-BE49-F238E27FC236}">
                <a16:creationId xmlns:a16="http://schemas.microsoft.com/office/drawing/2014/main" id="{59A782CE-C160-7A52-D6FA-2951D95D9F8C}"/>
              </a:ext>
            </a:extLst>
          </p:cNvPr>
          <p:cNvSpPr>
            <a:spLocks noChangeShapeType="1"/>
          </p:cNvSpPr>
          <p:nvPr/>
        </p:nvSpPr>
        <p:spPr bwMode="gray">
          <a:xfrm>
            <a:off x="5840971" y="1609710"/>
            <a:ext cx="390891" cy="0"/>
          </a:xfrm>
          <a:prstGeom prst="line">
            <a:avLst/>
          </a:prstGeom>
          <a:noFill/>
          <a:ln w="6350" cmpd="sng">
            <a:solidFill>
              <a:schemeClr val="bg2"/>
            </a:solidFill>
            <a:prstDash val="solid"/>
            <a:round/>
            <a:headEnd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buClrTx/>
            </a:pPr>
            <a:endParaRPr lang="de-DE" sz="1350" kern="1200"/>
          </a:p>
        </p:txBody>
      </p:sp>
      <p:sp>
        <p:nvSpPr>
          <p:cNvPr id="20" name="Line 25">
            <a:extLst>
              <a:ext uri="{FF2B5EF4-FFF2-40B4-BE49-F238E27FC236}">
                <a16:creationId xmlns:a16="http://schemas.microsoft.com/office/drawing/2014/main" id="{25BDAA24-9E08-6302-FA00-2F245DF3DC8A}"/>
              </a:ext>
            </a:extLst>
          </p:cNvPr>
          <p:cNvSpPr>
            <a:spLocks noChangeShapeType="1"/>
          </p:cNvSpPr>
          <p:nvPr/>
        </p:nvSpPr>
        <p:spPr bwMode="gray">
          <a:xfrm>
            <a:off x="5840971" y="1870512"/>
            <a:ext cx="390891" cy="0"/>
          </a:xfrm>
          <a:prstGeom prst="line">
            <a:avLst/>
          </a:prstGeom>
          <a:noFill/>
          <a:ln w="6350" cmpd="sng">
            <a:solidFill>
              <a:schemeClr val="bg2"/>
            </a:solidFill>
            <a:prstDash val="solid"/>
            <a:round/>
            <a:headEnd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buClrTx/>
            </a:pPr>
            <a:endParaRPr lang="de-DE" sz="1350" kern="1200"/>
          </a:p>
        </p:txBody>
      </p:sp>
      <p:sp>
        <p:nvSpPr>
          <p:cNvPr id="21" name="Line 24">
            <a:extLst>
              <a:ext uri="{FF2B5EF4-FFF2-40B4-BE49-F238E27FC236}">
                <a16:creationId xmlns:a16="http://schemas.microsoft.com/office/drawing/2014/main" id="{197E294F-B203-ACB8-7BDE-A638F4E4D3F8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5840970" y="1345536"/>
            <a:ext cx="0" cy="524977"/>
          </a:xfrm>
          <a:prstGeom prst="line">
            <a:avLst/>
          </a:prstGeom>
          <a:noFill/>
          <a:ln w="6350" cmpd="sng">
            <a:solidFill>
              <a:schemeClr val="bg2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buClrTx/>
            </a:pPr>
            <a:endParaRPr lang="de-DE" sz="1350" kern="1200"/>
          </a:p>
        </p:txBody>
      </p:sp>
      <p:sp>
        <p:nvSpPr>
          <p:cNvPr id="22" name="Line 25">
            <a:extLst>
              <a:ext uri="{FF2B5EF4-FFF2-40B4-BE49-F238E27FC236}">
                <a16:creationId xmlns:a16="http://schemas.microsoft.com/office/drawing/2014/main" id="{A19228D4-C4C8-8766-D20F-11CF7A0DAAB0}"/>
              </a:ext>
            </a:extLst>
          </p:cNvPr>
          <p:cNvSpPr>
            <a:spLocks noChangeShapeType="1"/>
          </p:cNvSpPr>
          <p:nvPr/>
        </p:nvSpPr>
        <p:spPr bwMode="gray">
          <a:xfrm>
            <a:off x="5840971" y="1345536"/>
            <a:ext cx="390891" cy="0"/>
          </a:xfrm>
          <a:prstGeom prst="line">
            <a:avLst/>
          </a:prstGeom>
          <a:noFill/>
          <a:ln w="6350" cmpd="sng">
            <a:solidFill>
              <a:schemeClr val="bg2"/>
            </a:solidFill>
            <a:prstDash val="solid"/>
            <a:round/>
            <a:headEnd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buClrTx/>
            </a:pPr>
            <a:endParaRPr lang="de-DE" sz="1350" kern="1200"/>
          </a:p>
        </p:txBody>
      </p:sp>
      <p:sp>
        <p:nvSpPr>
          <p:cNvPr id="14" name="AutoShape 7">
            <a:extLst>
              <a:ext uri="{FF2B5EF4-FFF2-40B4-BE49-F238E27FC236}">
                <a16:creationId xmlns:a16="http://schemas.microsoft.com/office/drawing/2014/main" id="{57D687B9-1A42-F800-B1B6-7B1DAB473AC1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rot="10800000">
            <a:off x="1281762" y="2513480"/>
            <a:ext cx="193414" cy="1626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25400" algn="ctr">
            <a:noFill/>
            <a:miter lim="800000"/>
            <a:headEnd/>
            <a:tailEnd/>
          </a:ln>
          <a:effectLst/>
        </p:spPr>
        <p:txBody>
          <a:bodyPr vert="horz" wrap="square" lIns="0" tIns="35100" rIns="67500" bIns="35100" numCol="1" anchor="ctr" anchorCtr="0" compatLnSpc="1">
            <a:prstTxWarp prst="textNoShape">
              <a:avLst/>
            </a:prstTxWarp>
            <a:noAutofit/>
          </a:bodyPr>
          <a:lstStyle/>
          <a:p>
            <a:pPr defTabSz="685800" fontAlgn="base">
              <a:spcBef>
                <a:spcPct val="40000"/>
              </a:spcBef>
              <a:spcAft>
                <a:spcPct val="0"/>
              </a:spcAft>
              <a:buClr>
                <a:srgbClr val="215283"/>
              </a:buClr>
              <a:buSzPct val="85000"/>
            </a:pPr>
            <a:endParaRPr lang="de-DE" sz="975" kern="1200">
              <a:solidFill>
                <a:srgbClr val="FFFFFF"/>
              </a:solidFill>
            </a:endParaRPr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34257CC6-2A72-2956-5071-5C1C7AD624DB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rot="341636">
            <a:off x="201529" y="2692914"/>
            <a:ext cx="2351129" cy="114041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vert="horz" wrap="square" lIns="0" tIns="35100" rIns="67500" bIns="35100" numCol="1" anchor="ctr" anchorCtr="0" compatLnSpc="1">
            <a:prstTxWarp prst="textNoShape">
              <a:avLst/>
            </a:prstTxWarp>
            <a:noAutofit/>
          </a:bodyPr>
          <a:lstStyle/>
          <a:p>
            <a:pPr defTabSz="685800" fontAlgn="base">
              <a:spcBef>
                <a:spcPct val="40000"/>
              </a:spcBef>
              <a:spcAft>
                <a:spcPct val="0"/>
              </a:spcAft>
              <a:buClr>
                <a:srgbClr val="215283"/>
              </a:buClr>
              <a:buSzPct val="85000"/>
            </a:pPr>
            <a:endParaRPr lang="de-DE" sz="975" kern="120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D1AAB27-A1A3-5BB2-0EC9-3BE0A730EA80}"/>
              </a:ext>
            </a:extLst>
          </p:cNvPr>
          <p:cNvGrpSpPr/>
          <p:nvPr/>
        </p:nvGrpSpPr>
        <p:grpSpPr bwMode="gray">
          <a:xfrm>
            <a:off x="2316935" y="3036120"/>
            <a:ext cx="204503" cy="241372"/>
            <a:chOff x="4037357" y="1631055"/>
            <a:chExt cx="252000" cy="252000"/>
          </a:xfrm>
        </p:grpSpPr>
        <p:sp>
          <p:nvSpPr>
            <p:cNvPr id="23" name="Text Placeholder 6">
              <a:extLst>
                <a:ext uri="{FF2B5EF4-FFF2-40B4-BE49-F238E27FC236}">
                  <a16:creationId xmlns:a16="http://schemas.microsoft.com/office/drawing/2014/main" id="{359DA0A9-DB20-6661-751C-DA7F0512D34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037357" y="1631055"/>
              <a:ext cx="252000" cy="252000"/>
            </a:xfrm>
            <a:prstGeom prst="rect">
              <a:avLst/>
            </a:prstGeom>
            <a:solidFill>
              <a:srgbClr val="66B512"/>
            </a:solidFill>
          </p:spPr>
          <p:txBody>
            <a:bodyPr lIns="81000" tIns="54000" rIns="81000" bIns="54000" anchor="ctr"/>
            <a:lstStyle>
              <a:lvl1pPr marL="0" indent="0" algn="l" defTabSz="1221456" rtl="0" eaLnBrk="1" latinLnBrk="0" hangingPunct="1">
                <a:spcBef>
                  <a:spcPts val="300"/>
                </a:spcBef>
                <a:spcAft>
                  <a:spcPts val="300"/>
                </a:spcAft>
                <a:buClr>
                  <a:schemeClr val="accent2"/>
                </a:buClr>
                <a:buSzPct val="110000"/>
                <a:buFont typeface="Arial" pitchFamily="34" charset="0"/>
                <a:buNone/>
                <a:defRPr sz="14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1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rgbClr val="6BC200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5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6pPr>
              <a:lvl7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7pPr>
              <a:lvl8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8pPr>
              <a:lvl9pPr marL="3175" indent="0" algn="l" defTabSz="1221456" rtl="0" eaLnBrk="1" latinLnBrk="0" hangingPunct="1">
                <a:spcBef>
                  <a:spcPts val="200"/>
                </a:spcBef>
                <a:spcAft>
                  <a:spcPts val="3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tabLst/>
                <a:defRPr sz="14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6092">
                <a:spcBef>
                  <a:spcPts val="225"/>
                </a:spcBef>
                <a:spcAft>
                  <a:spcPts val="225"/>
                </a:spcAft>
                <a:buClr>
                  <a:srgbClr val="00BCFF"/>
                </a:buClr>
              </a:pPr>
              <a:endParaRPr lang="de-DE" sz="105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24" name="Rectangle 82">
              <a:extLst>
                <a:ext uri="{FF2B5EF4-FFF2-40B4-BE49-F238E27FC236}">
                  <a16:creationId xmlns:a16="http://schemas.microsoft.com/office/drawing/2014/main" id="{DC9F461F-1C3F-EA05-9EC7-941C03CDEA2F}"/>
                </a:ext>
              </a:extLst>
            </p:cNvPr>
            <p:cNvSpPr/>
            <p:nvPr/>
          </p:nvSpPr>
          <p:spPr bwMode="gray">
            <a:xfrm rot="5400000">
              <a:off x="4091357" y="1685055"/>
              <a:ext cx="144000" cy="144000"/>
            </a:xfrm>
            <a:custGeom>
              <a:avLst/>
              <a:gdLst/>
              <a:ahLst/>
              <a:cxnLst/>
              <a:rect l="l" t="t" r="r" b="b"/>
              <a:pathLst>
                <a:path w="144000" h="144000">
                  <a:moveTo>
                    <a:pt x="0" y="90000"/>
                  </a:moveTo>
                  <a:lnTo>
                    <a:pt x="0" y="54000"/>
                  </a:lnTo>
                  <a:lnTo>
                    <a:pt x="54000" y="54000"/>
                  </a:lnTo>
                  <a:lnTo>
                    <a:pt x="54000" y="0"/>
                  </a:lnTo>
                  <a:lnTo>
                    <a:pt x="90000" y="0"/>
                  </a:lnTo>
                  <a:lnTo>
                    <a:pt x="90000" y="54000"/>
                  </a:lnTo>
                  <a:lnTo>
                    <a:pt x="144000" y="54000"/>
                  </a:lnTo>
                  <a:lnTo>
                    <a:pt x="144000" y="90000"/>
                  </a:lnTo>
                  <a:lnTo>
                    <a:pt x="90000" y="90000"/>
                  </a:lnTo>
                  <a:lnTo>
                    <a:pt x="90000" y="144000"/>
                  </a:lnTo>
                  <a:lnTo>
                    <a:pt x="54000" y="144000"/>
                  </a:lnTo>
                  <a:lnTo>
                    <a:pt x="54000" y="90000"/>
                  </a:lnTo>
                  <a:close/>
                </a:path>
              </a:pathLst>
            </a:custGeom>
            <a:solidFill>
              <a:srgbClr val="EFEDE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800">
                <a:buClrTx/>
              </a:pPr>
              <a:endParaRPr lang="de-DE" sz="1350" kern="1200" err="1"/>
            </a:p>
          </p:txBody>
        </p:sp>
      </p:grp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CB98869A-54CA-5737-011D-D95F2AFAD3B4}"/>
              </a:ext>
            </a:extLst>
          </p:cNvPr>
          <p:cNvSpPr txBox="1">
            <a:spLocks/>
          </p:cNvSpPr>
          <p:nvPr/>
        </p:nvSpPr>
        <p:spPr bwMode="gray">
          <a:xfrm>
            <a:off x="203130" y="2794746"/>
            <a:ext cx="180914" cy="213459"/>
          </a:xfrm>
          <a:prstGeom prst="rect">
            <a:avLst/>
          </a:prstGeom>
          <a:solidFill>
            <a:schemeClr val="tx2"/>
          </a:solidFill>
        </p:spPr>
        <p:txBody>
          <a:bodyPr lIns="81000" tIns="54000" rIns="81000" bIns="54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b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175" indent="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None/>
              <a:tabLst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175" indent="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None/>
              <a:tabLst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175" indent="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None/>
              <a:tabLst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175" indent="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tabLst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3175" indent="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tabLst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3175" indent="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tabLst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3175" indent="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tabLst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3175" indent="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tabLst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6092">
              <a:spcBef>
                <a:spcPts val="225"/>
              </a:spcBef>
              <a:spcAft>
                <a:spcPts val="225"/>
              </a:spcAft>
              <a:buClr>
                <a:srgbClr val="00BCFF"/>
              </a:buClr>
            </a:pPr>
            <a:endParaRPr lang="de-DE" sz="105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524D6A7-E92D-2900-96A2-BB272F53ADD3}"/>
              </a:ext>
            </a:extLst>
          </p:cNvPr>
          <p:cNvSpPr/>
          <p:nvPr/>
        </p:nvSpPr>
        <p:spPr bwMode="gray">
          <a:xfrm>
            <a:off x="241897" y="2886228"/>
            <a:ext cx="103379" cy="30494"/>
          </a:xfrm>
          <a:prstGeom prst="rect">
            <a:avLst/>
          </a:prstGeom>
          <a:solidFill>
            <a:srgbClr val="EFEDEF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>
              <a:buClrTx/>
            </a:pPr>
            <a:endParaRPr lang="de-DE" sz="1350" kern="1200" err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87980486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DE"/>
              <a:t>Subheadlin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Step by Step</a:t>
            </a:r>
          </a:p>
        </p:txBody>
      </p:sp>
      <p:graphicFrame>
        <p:nvGraphicFramePr>
          <p:cNvPr id="18" name="Group 3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9855096"/>
              </p:ext>
            </p:extLst>
          </p:nvPr>
        </p:nvGraphicFramePr>
        <p:xfrm>
          <a:off x="6200211" y="543767"/>
          <a:ext cx="2796888" cy="4460183"/>
        </p:xfrm>
        <a:graphic>
          <a:graphicData uri="http://schemas.openxmlformats.org/drawingml/2006/table">
            <a:tbl>
              <a:tblPr/>
              <a:tblGrid>
                <a:gridCol w="192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048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12213">
                <a:tc gridSpan="2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STEPS</a:t>
                      </a:r>
                    </a:p>
                  </a:txBody>
                  <a:tcPr marL="40490" marR="108000" marT="0" marB="51300" anchor="b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EDE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altLang="de-DE" sz="1200" kern="1200" noProof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0490" marR="108000" marT="0" marB="51300" anchor="b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ED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193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de-DE" sz="9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40490" marR="50612" marT="0" marB="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EDEF"/>
                    </a:solidFill>
                  </a:tcPr>
                </a:tc>
                <a:tc>
                  <a:txBody>
                    <a:bodyPr/>
                    <a:lstStyle/>
                    <a:p>
                      <a:pPr marL="180000" marR="0" lvl="1" indent="-180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Tx/>
                        <a:buFontTx/>
                        <a:buBlip>
                          <a:blip r:embed="rId4"/>
                        </a:buBlip>
                        <a:tabLst/>
                      </a:pPr>
                      <a:r>
                        <a:rPr lang="en-US" sz="9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External </a:t>
                      </a:r>
                      <a:r>
                        <a:rPr lang="en-US" sz="900" kern="1200" noProof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Apis</a:t>
                      </a:r>
                      <a:r>
                        <a:rPr lang="en-US" sz="9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are ingested by Cloud Composer into the raw layer (cloud storage)</a:t>
                      </a:r>
                    </a:p>
                  </a:txBody>
                  <a:tcPr marL="40490" marR="50612" marT="0" marB="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ED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193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9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40490" marR="50612" marT="0" marB="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EDEF"/>
                    </a:solidFill>
                  </a:tcPr>
                </a:tc>
                <a:tc>
                  <a:txBody>
                    <a:bodyPr/>
                    <a:lstStyle/>
                    <a:p>
                      <a:pPr marL="180000" marR="0" lvl="1" indent="-180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Tx/>
                        <a:buFontTx/>
                        <a:buBlip>
                          <a:blip r:embed="rId4"/>
                        </a:buBlip>
                        <a:tabLst/>
                      </a:pPr>
                      <a:r>
                        <a:rPr lang="en-US" sz="9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External files are ingested by Cloud composer into the Raw Layer (cloud storage)</a:t>
                      </a:r>
                    </a:p>
                  </a:txBody>
                  <a:tcPr marL="40490" marR="50612" marT="0" marB="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ED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62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9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40490" marR="50612" marT="0" marB="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EDEF"/>
                    </a:solidFill>
                  </a:tcPr>
                </a:tc>
                <a:tc>
                  <a:txBody>
                    <a:bodyPr/>
                    <a:lstStyle/>
                    <a:p>
                      <a:pPr marL="180000" marR="0" lvl="1" indent="-180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Tx/>
                        <a:buFontTx/>
                        <a:buBlip>
                          <a:blip r:embed="rId4"/>
                        </a:buBlip>
                        <a:tabLst/>
                      </a:pPr>
                      <a:r>
                        <a:rPr lang="en-US" altLang="de-DE" sz="9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External Database tables are ingested by Cloud composer into the Raw Layer (cloud storage)</a:t>
                      </a:r>
                    </a:p>
                  </a:txBody>
                  <a:tcPr marL="40490" marR="50612" marT="0" marB="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ED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662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9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40490" marR="50612" marT="0" marB="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EDEF"/>
                    </a:solidFill>
                  </a:tcPr>
                </a:tc>
                <a:tc>
                  <a:txBody>
                    <a:bodyPr/>
                    <a:lstStyle/>
                    <a:p>
                      <a:pPr marL="180000" marR="0" lvl="1" indent="-180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Tx/>
                        <a:buFontTx/>
                        <a:buBlip>
                          <a:blip r:embed="rId4"/>
                        </a:buBlip>
                        <a:tabLst/>
                      </a:pPr>
                      <a:r>
                        <a:rPr lang="en-US" altLang="de-DE" sz="9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urrent applications data is being replicated to CSW (Big Query)</a:t>
                      </a:r>
                    </a:p>
                  </a:txBody>
                  <a:tcPr marL="40490" marR="50612" marT="0" marB="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ED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193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9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5</a:t>
                      </a:r>
                    </a:p>
                  </a:txBody>
                  <a:tcPr marL="40490" marR="50612" marT="0" marB="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EDEF"/>
                    </a:solidFill>
                  </a:tcPr>
                </a:tc>
                <a:tc>
                  <a:txBody>
                    <a:bodyPr/>
                    <a:lstStyle/>
                    <a:p>
                      <a:pPr marL="180000" marR="0" lvl="1" indent="-180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Tx/>
                        <a:buFontTx/>
                        <a:buBlip>
                          <a:blip r:embed="rId4"/>
                        </a:buBlip>
                        <a:tabLst/>
                        <a:defRPr/>
                      </a:pPr>
                      <a:r>
                        <a:rPr lang="en-US" altLang="de-DE" sz="9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Data from CSW is currently being replicated to MD Data Lake</a:t>
                      </a:r>
                      <a:endParaRPr lang="de-DE" sz="900" kern="1200" noProof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0490" marR="50612" marT="0" marB="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ED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5517432"/>
                  </a:ext>
                </a:extLst>
              </a:tr>
              <a:tr h="441935">
                <a:tc>
                  <a:txBody>
                    <a:bodyPr/>
                    <a:lstStyle/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de-DE" sz="9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40490" marR="50612" marT="0" marB="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EDEF"/>
                    </a:solidFill>
                  </a:tcPr>
                </a:tc>
                <a:tc>
                  <a:txBody>
                    <a:bodyPr/>
                    <a:lstStyle/>
                    <a:p>
                      <a:pPr marL="180000" marR="0" lvl="1" indent="-180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Tx/>
                        <a:buFontTx/>
                        <a:buBlip>
                          <a:blip r:embed="rId4"/>
                        </a:buBlip>
                        <a:tabLst/>
                        <a:defRPr/>
                      </a:pPr>
                      <a:r>
                        <a:rPr lang="en-US" sz="9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Data from CSW and MD Data Lake are ingested on the raw layer</a:t>
                      </a:r>
                      <a:endParaRPr lang="de-DE" sz="900" kern="1200" noProof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0490" marR="50612" marT="0" marB="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ED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7627737"/>
                  </a:ext>
                </a:extLst>
              </a:tr>
              <a:tr h="441935">
                <a:tc>
                  <a:txBody>
                    <a:bodyPr/>
                    <a:lstStyle/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de-DE" sz="9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40490" marR="50612" marT="0" marB="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EDEF"/>
                    </a:solidFill>
                  </a:tcPr>
                </a:tc>
                <a:tc>
                  <a:txBody>
                    <a:bodyPr/>
                    <a:lstStyle/>
                    <a:p>
                      <a:pPr marL="180000" marR="0" lvl="1" indent="-180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Tx/>
                        <a:buFontTx/>
                        <a:buBlip>
                          <a:blip r:embed="rId4"/>
                        </a:buBlip>
                        <a:tabLst/>
                        <a:defRPr/>
                      </a:pPr>
                      <a:r>
                        <a:rPr lang="en-US" altLang="de-DE" sz="9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Data from Landing Layer is processed into the raw layer by </a:t>
                      </a:r>
                      <a:r>
                        <a:rPr lang="en-US" altLang="de-DE" sz="900" kern="1200" noProof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dataproc</a:t>
                      </a:r>
                      <a:endParaRPr lang="en-US" altLang="de-DE" sz="900" kern="1200" noProof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0490" marR="50612" marT="0" marB="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ED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1607990"/>
                  </a:ext>
                </a:extLst>
              </a:tr>
              <a:tr h="441935">
                <a:tc>
                  <a:txBody>
                    <a:bodyPr/>
                    <a:lstStyle/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de-DE" sz="9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40490" marR="50612" marT="0" marB="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EDEF"/>
                    </a:solidFill>
                  </a:tcPr>
                </a:tc>
                <a:tc>
                  <a:txBody>
                    <a:bodyPr/>
                    <a:lstStyle/>
                    <a:p>
                      <a:pPr marL="180000" marR="0" lvl="1" indent="-180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Tx/>
                        <a:buFontTx/>
                        <a:buBlip>
                          <a:blip r:embed="rId4"/>
                        </a:buBlip>
                        <a:tabLst/>
                        <a:defRPr/>
                      </a:pPr>
                      <a:r>
                        <a:rPr lang="en-US" altLang="de-DE" sz="9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Data from the raw layer is promoted to the clean layer using Big Query with rules stored on </a:t>
                      </a:r>
                      <a:r>
                        <a:rPr lang="en-US" altLang="de-DE" sz="900" kern="1200" noProof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Dataform</a:t>
                      </a:r>
                      <a:endParaRPr lang="en-US" altLang="de-DE" sz="900" kern="1200" noProof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0490" marR="50612" marT="0" marB="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ED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5096789"/>
                  </a:ext>
                </a:extLst>
              </a:tr>
              <a:tr h="441935">
                <a:tc>
                  <a:txBody>
                    <a:bodyPr/>
                    <a:lstStyle/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de-DE" sz="9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* </a:t>
                      </a:r>
                    </a:p>
                  </a:txBody>
                  <a:tcPr marL="40490" marR="50612" marT="0" marB="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EDEF"/>
                    </a:solidFill>
                  </a:tcPr>
                </a:tc>
                <a:tc>
                  <a:txBody>
                    <a:bodyPr/>
                    <a:lstStyle/>
                    <a:p>
                      <a:pPr marL="180000" marR="0" lvl="1" indent="-180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Tx/>
                        <a:buFontTx/>
                        <a:buBlip>
                          <a:blip r:embed="rId4"/>
                        </a:buBlip>
                        <a:tabLst/>
                      </a:pPr>
                      <a:r>
                        <a:rPr lang="en-US" altLang="de-DE" sz="9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All versioned transformations are stored in GitHub</a:t>
                      </a:r>
                    </a:p>
                  </a:txBody>
                  <a:tcPr marL="40490" marR="50612" marT="0" marB="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ED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1439658"/>
                  </a:ext>
                </a:extLst>
              </a:tr>
            </a:tbl>
          </a:graphicData>
        </a:graphic>
      </p:graphicFrame>
      <p:sp>
        <p:nvSpPr>
          <p:cNvPr id="51" name="Rectangle 4">
            <a:hlinkClick r:id="rId5" action="ppaction://hlinksldjump"/>
            <a:extLst>
              <a:ext uri="{FF2B5EF4-FFF2-40B4-BE49-F238E27FC236}">
                <a16:creationId xmlns:a16="http://schemas.microsoft.com/office/drawing/2014/main" id="{0C277745-DEC2-46A8-B9BE-276EC60C59FA}"/>
              </a:ext>
            </a:extLst>
          </p:cNvPr>
          <p:cNvSpPr/>
          <p:nvPr/>
        </p:nvSpPr>
        <p:spPr bwMode="gray">
          <a:xfrm>
            <a:off x="161466" y="876343"/>
            <a:ext cx="332763" cy="332762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endParaRPr lang="de-DE" sz="1350" kern="120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buClrTx/>
            </a:pPr>
            <a:fld id="{EEAD9179-7A6B-4268-BEB2-F3B8EB06115B}" type="slidenum">
              <a:rPr lang="de-DE" kern="1200">
                <a:solidFill>
                  <a:srgbClr val="00BCFF"/>
                </a:solidFill>
              </a:rPr>
              <a:pPr defTabSz="685800">
                <a:buClrTx/>
              </a:pPr>
              <a:t>2</a:t>
            </a:fld>
            <a:endParaRPr lang="de-DE" kern="1200">
              <a:solidFill>
                <a:srgbClr val="00BCFF"/>
              </a:solidFill>
            </a:endParaRPr>
          </a:p>
        </p:txBody>
      </p:sp>
      <p:pic>
        <p:nvPicPr>
          <p:cNvPr id="4" name="Google Shape;61;p14">
            <a:extLst>
              <a:ext uri="{FF2B5EF4-FFF2-40B4-BE49-F238E27FC236}">
                <a16:creationId xmlns:a16="http://schemas.microsoft.com/office/drawing/2014/main" id="{3A4C2BC9-EFA0-AB0B-25F1-EA8601AC633A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61466" y="1139876"/>
            <a:ext cx="5676774" cy="3043500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41157485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Delivery layer and Integrations</a:t>
            </a:r>
          </a:p>
        </p:txBody>
      </p:sp>
      <p:sp>
        <p:nvSpPr>
          <p:cNvPr id="29" name="Rectangle 28"/>
          <p:cNvSpPr/>
          <p:nvPr/>
        </p:nvSpPr>
        <p:spPr bwMode="gray">
          <a:xfrm>
            <a:off x="736460" y="1555154"/>
            <a:ext cx="5185993" cy="3489296"/>
          </a:xfrm>
          <a:prstGeom prst="rect">
            <a:avLst/>
          </a:prstGeom>
          <a:solidFill>
            <a:srgbClr val="DAD6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50"/>
          </a:p>
        </p:txBody>
      </p:sp>
      <p:sp>
        <p:nvSpPr>
          <p:cNvPr id="59" name="Text Placeholder 7"/>
          <p:cNvSpPr txBox="1">
            <a:spLocks/>
          </p:cNvSpPr>
          <p:nvPr/>
        </p:nvSpPr>
        <p:spPr bwMode="gray">
          <a:xfrm>
            <a:off x="736460" y="1304596"/>
            <a:ext cx="5185993" cy="269658"/>
          </a:xfrm>
          <a:prstGeom prst="rect">
            <a:avLst/>
          </a:prstGeom>
          <a:solidFill>
            <a:srgbClr val="66B512"/>
          </a:solidFill>
        </p:spPr>
        <p:txBody>
          <a:bodyPr vert="horz" lIns="81000" tIns="54000" rIns="81000" bIns="5400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12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050">
                <a:solidFill>
                  <a:schemeClr val="bg1"/>
                </a:solidFill>
              </a:rPr>
              <a:t>Delivery layer</a:t>
            </a:r>
          </a:p>
        </p:txBody>
      </p:sp>
      <p:sp>
        <p:nvSpPr>
          <p:cNvPr id="61" name="Text Placeholder 7"/>
          <p:cNvSpPr txBox="1">
            <a:spLocks/>
          </p:cNvSpPr>
          <p:nvPr/>
        </p:nvSpPr>
        <p:spPr bwMode="gray">
          <a:xfrm>
            <a:off x="6217729" y="1668816"/>
            <a:ext cx="2618077" cy="259875"/>
          </a:xfrm>
          <a:prstGeom prst="rect">
            <a:avLst/>
          </a:prstGeom>
          <a:solidFill>
            <a:schemeClr val="accent2"/>
          </a:solidFill>
        </p:spPr>
        <p:txBody>
          <a:bodyPr vert="horz" lIns="81000" tIns="54000" rIns="81000" bIns="5400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12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050">
                <a:solidFill>
                  <a:schemeClr val="bg1"/>
                </a:solidFill>
              </a:rPr>
              <a:t>AWS Integration</a:t>
            </a:r>
          </a:p>
        </p:txBody>
      </p:sp>
      <p:sp>
        <p:nvSpPr>
          <p:cNvPr id="62" name="Text Placeholder 12"/>
          <p:cNvSpPr txBox="1">
            <a:spLocks/>
          </p:cNvSpPr>
          <p:nvPr/>
        </p:nvSpPr>
        <p:spPr bwMode="gray">
          <a:xfrm>
            <a:off x="6059739" y="2136314"/>
            <a:ext cx="2776067" cy="1921455"/>
          </a:xfrm>
          <a:prstGeom prst="rect">
            <a:avLst/>
          </a:prstGeom>
          <a:noFill/>
        </p:spPr>
        <p:txBody>
          <a:bodyPr lIns="0" tIns="54000" rIns="0" bIns="54000" anchor="t"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4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6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7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7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7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7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7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050"/>
              <a:t>Batch data: we can schedule an airflow job to either insert on the Document Database (MongoDB) or put the data in parquet format inside an S3 bucket.</a:t>
            </a:r>
          </a:p>
          <a:p>
            <a:pPr lvl="1"/>
            <a:r>
              <a:rPr lang="en-US" sz="1050"/>
              <a:t>Streaming data: we will provide a pub-sub topic and a cloud function attached to it to produce messages for AWS Kinesis</a:t>
            </a:r>
          </a:p>
        </p:txBody>
      </p:sp>
      <p:sp>
        <p:nvSpPr>
          <p:cNvPr id="34" name="Rectangle 4">
            <a:hlinkClick r:id="rId8" action="ppaction://hlinksldjump"/>
            <a:extLst>
              <a:ext uri="{FF2B5EF4-FFF2-40B4-BE49-F238E27FC236}">
                <a16:creationId xmlns:a16="http://schemas.microsoft.com/office/drawing/2014/main" id="{5FBB3748-4DD9-4F97-A837-38F0518837B1}"/>
              </a:ext>
            </a:extLst>
          </p:cNvPr>
          <p:cNvSpPr/>
          <p:nvPr/>
        </p:nvSpPr>
        <p:spPr bwMode="gray">
          <a:xfrm>
            <a:off x="108959" y="876343"/>
            <a:ext cx="332763" cy="332762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5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de-DE" smtClean="0"/>
              <a:t>3</a:t>
            </a:fld>
            <a:endParaRPr lang="de-DE"/>
          </a:p>
        </p:txBody>
      </p:sp>
      <p:pic>
        <p:nvPicPr>
          <p:cNvPr id="9" name="Google Shape;69;p15">
            <a:extLst>
              <a:ext uri="{FF2B5EF4-FFF2-40B4-BE49-F238E27FC236}">
                <a16:creationId xmlns:a16="http://schemas.microsoft.com/office/drawing/2014/main" id="{DFA92A0F-C679-2830-111C-8AA092855259}"/>
              </a:ext>
            </a:extLst>
          </p:cNvPr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1780184" y="1702298"/>
            <a:ext cx="3461884" cy="3290967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Google Shape;73;p15">
            <a:extLst>
              <a:ext uri="{FF2B5EF4-FFF2-40B4-BE49-F238E27FC236}">
                <a16:creationId xmlns:a16="http://schemas.microsoft.com/office/drawing/2014/main" id="{EBBEBC96-B2E9-E9A8-7AC6-484078A35C6E}"/>
              </a:ext>
            </a:extLst>
          </p:cNvPr>
          <p:cNvSpPr txBox="1"/>
          <p:nvPr/>
        </p:nvSpPr>
        <p:spPr>
          <a:xfrm>
            <a:off x="729983" y="3753357"/>
            <a:ext cx="939778" cy="353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100">
                <a:solidFill>
                  <a:schemeClr val="accent1"/>
                </a:solidFill>
              </a:rPr>
              <a:t>Streaming</a:t>
            </a:r>
            <a:endParaRPr sz="1100">
              <a:solidFill>
                <a:schemeClr val="accent1"/>
              </a:solidFill>
            </a:endParaRP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DDC9589A-5BE5-DEBB-9B10-EB7712258F51}"/>
              </a:ext>
            </a:extLst>
          </p:cNvPr>
          <p:cNvSpPr txBox="1">
            <a:spLocks/>
          </p:cNvSpPr>
          <p:nvPr/>
        </p:nvSpPr>
        <p:spPr bwMode="gray">
          <a:xfrm rot="5400000">
            <a:off x="1537905" y="3317994"/>
            <a:ext cx="250558" cy="234000"/>
          </a:xfrm>
          <a:prstGeom prst="triangle">
            <a:avLst/>
          </a:prstGeom>
          <a:solidFill>
            <a:schemeClr val="tx2"/>
          </a:solidFill>
        </p:spPr>
        <p:txBody>
          <a:bodyPr lIns="108000" tIns="72000" rIns="108000" bIns="72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b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175" indent="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None/>
              <a:tabLst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175" indent="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None/>
              <a:tabLst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175" indent="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None/>
              <a:tabLst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175" indent="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tabLst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3175" indent="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tabLst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3175" indent="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tabLst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3175" indent="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tabLst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3175" indent="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tabLst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6EFBE836-E7DF-000E-7507-2725C199623F}"/>
              </a:ext>
            </a:extLst>
          </p:cNvPr>
          <p:cNvSpPr txBox="1">
            <a:spLocks/>
          </p:cNvSpPr>
          <p:nvPr/>
        </p:nvSpPr>
        <p:spPr bwMode="gray">
          <a:xfrm rot="5400000">
            <a:off x="1537905" y="3815490"/>
            <a:ext cx="250558" cy="234000"/>
          </a:xfrm>
          <a:prstGeom prst="triangle">
            <a:avLst/>
          </a:prstGeom>
          <a:solidFill>
            <a:schemeClr val="tx2"/>
          </a:solidFill>
        </p:spPr>
        <p:txBody>
          <a:bodyPr lIns="108000" tIns="72000" rIns="108000" bIns="72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b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175" indent="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None/>
              <a:tabLst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175" indent="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None/>
              <a:tabLst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175" indent="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None/>
              <a:tabLst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175" indent="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tabLst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3175" indent="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tabLst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3175" indent="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tabLst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3175" indent="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tabLst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3175" indent="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tabLst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/>
          </a:p>
        </p:txBody>
      </p:sp>
      <p:sp>
        <p:nvSpPr>
          <p:cNvPr id="18" name="Google Shape;73;p15">
            <a:extLst>
              <a:ext uri="{FF2B5EF4-FFF2-40B4-BE49-F238E27FC236}">
                <a16:creationId xmlns:a16="http://schemas.microsoft.com/office/drawing/2014/main" id="{58BBEA29-CB92-C0CE-AACD-796FD3EC2D73}"/>
              </a:ext>
            </a:extLst>
          </p:cNvPr>
          <p:cNvSpPr txBox="1"/>
          <p:nvPr/>
        </p:nvSpPr>
        <p:spPr>
          <a:xfrm>
            <a:off x="1036400" y="3255087"/>
            <a:ext cx="606498" cy="353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>
                <a:solidFill>
                  <a:schemeClr val="accent1"/>
                </a:solidFill>
              </a:rPr>
              <a:t>Batch</a:t>
            </a:r>
            <a:endParaRPr sz="1100">
              <a:solidFill>
                <a:schemeClr val="accent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41548822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3"/>
          <p:cNvSpPr txBox="1"/>
          <p:nvPr/>
        </p:nvSpPr>
        <p:spPr>
          <a:xfrm>
            <a:off x="916525" y="1017725"/>
            <a:ext cx="7854900" cy="461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/>
              <a:t>Main objective for choosing GCP as our cloud provider:</a:t>
            </a:r>
            <a:endParaRPr sz="1800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●"/>
            </a:pPr>
            <a:r>
              <a:rPr lang="pt-BR" sz="1800"/>
              <a:t>Data source already hosted on GCP avoid complexity on access, inbound / outbound costs, and avoids</a:t>
            </a:r>
            <a:r>
              <a:rPr lang="pt-BR" sz="1800">
                <a:solidFill>
                  <a:schemeClr val="dk1"/>
                </a:solidFill>
              </a:rPr>
              <a:t> data transfer issues between clouds and its risks</a:t>
            </a:r>
            <a:r>
              <a:rPr lang="pt-BR" sz="1800"/>
              <a:t> .</a:t>
            </a:r>
            <a:endParaRPr sz="1800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●"/>
            </a:pPr>
            <a:r>
              <a:rPr lang="pt-BR" sz="1800"/>
              <a:t>Bayer's Brazil teams already have knowledge using GCP services (BigQuery and Apache Airflow) for data transformation and scheduling processes.</a:t>
            </a:r>
            <a:endParaRPr sz="1800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●"/>
            </a:pPr>
            <a:r>
              <a:rPr lang="pt-BR" sz="1800"/>
              <a:t>The smaller learning curve to maintain the solution compared to choosing another cloud provider.</a:t>
            </a:r>
            <a:endParaRPr sz="1800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●"/>
            </a:pPr>
            <a:r>
              <a:rPr lang="pt-BR" sz="1800"/>
              <a:t>Easier integration with Google services (no VPC needed, all integration is made using a service account).</a:t>
            </a:r>
            <a:endParaRPr sz="1800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●"/>
            </a:pPr>
            <a:r>
              <a:rPr lang="pt-BR" sz="1800"/>
              <a:t>Improved productivity and faster results on an architecture that is ready to start implementation.</a:t>
            </a:r>
            <a:endParaRPr sz="1800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●"/>
            </a:pPr>
            <a:r>
              <a:rPr lang="pt-BR" sz="1800"/>
              <a:t>Bigquery has a seamless integration with another clouds</a:t>
            </a:r>
            <a:endParaRPr sz="1800"/>
          </a:p>
          <a:p>
            <a:pPr marL="45720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55" name="Google Shape;55;p1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/>
              <a:t>Why we choose GCP</a:t>
            </a:r>
            <a:endParaRPr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4"/>
          <p:cNvSpPr txBox="1"/>
          <p:nvPr/>
        </p:nvSpPr>
        <p:spPr>
          <a:xfrm>
            <a:off x="4269325" y="133350"/>
            <a:ext cx="5397600" cy="338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900"/>
              </a:spcBef>
              <a:spcAft>
                <a:spcPts val="0"/>
              </a:spcAft>
              <a:buNone/>
            </a:pPr>
            <a:r>
              <a:rPr lang="pt-BR" sz="900">
                <a:solidFill>
                  <a:schemeClr val="dk1"/>
                </a:solidFill>
                <a:highlight>
                  <a:srgbClr val="FBFBFB"/>
                </a:highlight>
              </a:rPr>
              <a:t>1 - External Apis are ingested by Cloud Composer into the raw layer (cloud storage)</a:t>
            </a:r>
            <a:endParaRPr sz="900">
              <a:solidFill>
                <a:schemeClr val="dk1"/>
              </a:solidFill>
              <a:highlight>
                <a:srgbClr val="FBFBFB"/>
              </a:highlight>
            </a:endParaRPr>
          </a:p>
          <a:p>
            <a:pPr marL="0" lvl="0" indent="0" algn="l" rtl="0">
              <a:lnSpc>
                <a:spcPct val="115000"/>
              </a:lnSpc>
              <a:spcBef>
                <a:spcPts val="900"/>
              </a:spcBef>
              <a:spcAft>
                <a:spcPts val="0"/>
              </a:spcAft>
              <a:buNone/>
            </a:pPr>
            <a:r>
              <a:rPr lang="pt-BR" sz="900">
                <a:solidFill>
                  <a:schemeClr val="dk1"/>
                </a:solidFill>
                <a:highlight>
                  <a:srgbClr val="FBFBFB"/>
                </a:highlight>
              </a:rPr>
              <a:t>2 - External files are ingested by Cloud composer into the Raw Layer (cloud storage)</a:t>
            </a:r>
            <a:endParaRPr sz="900">
              <a:solidFill>
                <a:schemeClr val="dk1"/>
              </a:solidFill>
              <a:highlight>
                <a:srgbClr val="FBFBFB"/>
              </a:highlight>
            </a:endParaRPr>
          </a:p>
          <a:p>
            <a:pPr marL="0" lvl="0" indent="0" algn="l" rtl="0">
              <a:lnSpc>
                <a:spcPct val="115000"/>
              </a:lnSpc>
              <a:spcBef>
                <a:spcPts val="900"/>
              </a:spcBef>
              <a:spcAft>
                <a:spcPts val="0"/>
              </a:spcAft>
              <a:buNone/>
            </a:pPr>
            <a:r>
              <a:rPr lang="pt-BR" sz="900">
                <a:solidFill>
                  <a:schemeClr val="dk1"/>
                </a:solidFill>
                <a:highlight>
                  <a:srgbClr val="FBFBFB"/>
                </a:highlight>
              </a:rPr>
              <a:t>3 - External Database tables are ingested by Cloud composer into the Raw Layer (cloud storage)</a:t>
            </a:r>
            <a:endParaRPr sz="900">
              <a:solidFill>
                <a:schemeClr val="dk1"/>
              </a:solidFill>
              <a:highlight>
                <a:srgbClr val="FBFBFB"/>
              </a:highlight>
            </a:endParaRPr>
          </a:p>
          <a:p>
            <a:pPr marL="0" lvl="0" indent="0" algn="l" rtl="0">
              <a:lnSpc>
                <a:spcPct val="115000"/>
              </a:lnSpc>
              <a:spcBef>
                <a:spcPts val="900"/>
              </a:spcBef>
              <a:spcAft>
                <a:spcPts val="0"/>
              </a:spcAft>
              <a:buNone/>
            </a:pPr>
            <a:r>
              <a:rPr lang="en-US" sz="900">
                <a:solidFill>
                  <a:schemeClr val="dk1"/>
                </a:solidFill>
                <a:highlight>
                  <a:srgbClr val="FBFBFB"/>
                </a:highlight>
              </a:rPr>
              <a:t>4- Current applications data is being replicated to CSW (Big Query)</a:t>
            </a:r>
          </a:p>
          <a:p>
            <a:pPr marL="0" lvl="0" indent="0" algn="l" rtl="0">
              <a:lnSpc>
                <a:spcPct val="115000"/>
              </a:lnSpc>
              <a:spcBef>
                <a:spcPts val="900"/>
              </a:spcBef>
              <a:spcAft>
                <a:spcPts val="0"/>
              </a:spcAft>
              <a:buNone/>
            </a:pPr>
            <a:r>
              <a:rPr lang="pt-BR" sz="900">
                <a:solidFill>
                  <a:schemeClr val="dk1"/>
                </a:solidFill>
                <a:highlight>
                  <a:srgbClr val="FBFBFB"/>
                </a:highlight>
              </a:rPr>
              <a:t>5- Data from CSW is currently being replicated to MD Data Lake</a:t>
            </a:r>
            <a:endParaRPr sz="900">
              <a:solidFill>
                <a:schemeClr val="dk1"/>
              </a:solidFill>
              <a:highlight>
                <a:srgbClr val="FBFBFB"/>
              </a:highlight>
            </a:endParaRPr>
          </a:p>
          <a:p>
            <a:pPr marL="0" lvl="0" indent="0" algn="l" rtl="0">
              <a:lnSpc>
                <a:spcPct val="115000"/>
              </a:lnSpc>
              <a:spcBef>
                <a:spcPts val="900"/>
              </a:spcBef>
              <a:spcAft>
                <a:spcPts val="0"/>
              </a:spcAft>
              <a:buNone/>
            </a:pPr>
            <a:r>
              <a:rPr lang="pt-BR" sz="900">
                <a:solidFill>
                  <a:schemeClr val="dk1"/>
                </a:solidFill>
                <a:highlight>
                  <a:srgbClr val="FBFBFB"/>
                </a:highlight>
              </a:rPr>
              <a:t>6- Data from CSW and MD Data Lake are ingested on the raw layer</a:t>
            </a:r>
            <a:endParaRPr sz="900">
              <a:solidFill>
                <a:schemeClr val="dk1"/>
              </a:solidFill>
              <a:highlight>
                <a:srgbClr val="FBFBFB"/>
              </a:highlight>
            </a:endParaRPr>
          </a:p>
          <a:p>
            <a:pPr marL="0" lvl="0" indent="0" algn="l" rtl="0">
              <a:lnSpc>
                <a:spcPct val="115000"/>
              </a:lnSpc>
              <a:spcBef>
                <a:spcPts val="900"/>
              </a:spcBef>
              <a:spcAft>
                <a:spcPts val="0"/>
              </a:spcAft>
              <a:buNone/>
            </a:pPr>
            <a:r>
              <a:rPr lang="pt-BR" sz="900">
                <a:solidFill>
                  <a:schemeClr val="dk1"/>
                </a:solidFill>
                <a:highlight>
                  <a:srgbClr val="FBFBFB"/>
                </a:highlight>
              </a:rPr>
              <a:t>7- Data from Landing Layer is processed into the raw layer by dataproc</a:t>
            </a:r>
            <a:endParaRPr sz="900">
              <a:solidFill>
                <a:schemeClr val="dk1"/>
              </a:solidFill>
              <a:highlight>
                <a:srgbClr val="FBFBFB"/>
              </a:highlight>
            </a:endParaRPr>
          </a:p>
          <a:p>
            <a:pPr marL="0" lvl="0" indent="0" algn="l" rtl="0">
              <a:lnSpc>
                <a:spcPct val="115000"/>
              </a:lnSpc>
              <a:spcBef>
                <a:spcPts val="900"/>
              </a:spcBef>
              <a:spcAft>
                <a:spcPts val="0"/>
              </a:spcAft>
              <a:buNone/>
            </a:pPr>
            <a:r>
              <a:rPr lang="pt-BR" sz="900">
                <a:solidFill>
                  <a:schemeClr val="dk1"/>
                </a:solidFill>
                <a:highlight>
                  <a:srgbClr val="FBFBFB"/>
                </a:highlight>
              </a:rPr>
              <a:t>8- Data from the raw layer is promoted to the clean layer using Big Query with rules stored on Dataform</a:t>
            </a:r>
            <a:endParaRPr sz="900">
              <a:solidFill>
                <a:schemeClr val="dk1"/>
              </a:solidFill>
              <a:highlight>
                <a:srgbClr val="FBFBFB"/>
              </a:highlight>
            </a:endParaRPr>
          </a:p>
          <a:p>
            <a:pPr marL="0" lvl="0" indent="0" algn="l" rtl="0">
              <a:lnSpc>
                <a:spcPct val="115000"/>
              </a:lnSpc>
              <a:spcBef>
                <a:spcPts val="900"/>
              </a:spcBef>
              <a:spcAft>
                <a:spcPts val="0"/>
              </a:spcAft>
              <a:buNone/>
            </a:pPr>
            <a:r>
              <a:rPr lang="pt-BR" sz="900">
                <a:solidFill>
                  <a:schemeClr val="dk1"/>
                </a:solidFill>
                <a:highlight>
                  <a:srgbClr val="FBFBFB"/>
                </a:highlight>
              </a:rPr>
              <a:t>9- Data from the clean layer is promoted to the delivery layer using Big Query with rules stored on Dataform</a:t>
            </a:r>
            <a:endParaRPr sz="900">
              <a:solidFill>
                <a:schemeClr val="dk1"/>
              </a:solidFill>
              <a:highlight>
                <a:srgbClr val="FBFBFB"/>
              </a:highlight>
            </a:endParaRPr>
          </a:p>
          <a:p>
            <a:pPr marL="0" lvl="0" indent="0" algn="l" rtl="0">
              <a:lnSpc>
                <a:spcPct val="115000"/>
              </a:lnSpc>
              <a:spcBef>
                <a:spcPts val="900"/>
              </a:spcBef>
              <a:spcAft>
                <a:spcPts val="0"/>
              </a:spcAft>
              <a:buNone/>
            </a:pPr>
            <a:r>
              <a:rPr lang="pt-BR" sz="900">
                <a:solidFill>
                  <a:schemeClr val="dk1"/>
                </a:solidFill>
                <a:highlight>
                  <a:srgbClr val="FBFBFB"/>
                </a:highlight>
              </a:rPr>
              <a:t>* (All versioned transformations are stored in GitHub)</a:t>
            </a:r>
            <a:endParaRPr sz="900">
              <a:solidFill>
                <a:schemeClr val="dk1"/>
              </a:solidFill>
              <a:highlight>
                <a:srgbClr val="FBFBFB"/>
              </a:highlight>
            </a:endParaRPr>
          </a:p>
          <a:p>
            <a:pPr marL="0" lvl="0" indent="0" algn="l" rtl="0">
              <a:lnSpc>
                <a:spcPct val="115000"/>
              </a:lnSpc>
              <a:spcBef>
                <a:spcPts val="900"/>
              </a:spcBef>
              <a:spcAft>
                <a:spcPts val="900"/>
              </a:spcAft>
              <a:buNone/>
            </a:pPr>
            <a:endParaRPr sz="900">
              <a:solidFill>
                <a:schemeClr val="dk1"/>
              </a:solidFill>
              <a:highlight>
                <a:srgbClr val="FBFBFB"/>
              </a:highlight>
            </a:endParaRPr>
          </a:p>
        </p:txBody>
      </p:sp>
      <p:pic>
        <p:nvPicPr>
          <p:cNvPr id="61" name="Google Shape;61;p1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4300" y="1966650"/>
            <a:ext cx="5676774" cy="30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62" name="Google Shape;62;p14"/>
          <p:cNvSpPr txBox="1"/>
          <p:nvPr/>
        </p:nvSpPr>
        <p:spPr>
          <a:xfrm>
            <a:off x="482250" y="272025"/>
            <a:ext cx="3448500" cy="44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700" b="1"/>
              <a:t>Steps</a:t>
            </a:r>
            <a:endParaRPr sz="1700" b="1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/>
          <p:cNvSpPr txBox="1"/>
          <p:nvPr/>
        </p:nvSpPr>
        <p:spPr>
          <a:xfrm>
            <a:off x="482250" y="272025"/>
            <a:ext cx="7912800" cy="44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700" b="1"/>
              <a:t>Delivery layer and Integrations</a:t>
            </a:r>
            <a:endParaRPr sz="1700" b="1"/>
          </a:p>
        </p:txBody>
      </p:sp>
      <p:sp>
        <p:nvSpPr>
          <p:cNvPr id="68" name="Google Shape;68;p15"/>
          <p:cNvSpPr txBox="1"/>
          <p:nvPr/>
        </p:nvSpPr>
        <p:spPr>
          <a:xfrm>
            <a:off x="5159950" y="1472873"/>
            <a:ext cx="4155300" cy="165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2400"/>
              </a:spcBef>
              <a:spcAft>
                <a:spcPts val="0"/>
              </a:spcAft>
              <a:buNone/>
            </a:pPr>
            <a:r>
              <a:rPr lang="pt-BR" sz="1700" b="1">
                <a:solidFill>
                  <a:schemeClr val="dk1"/>
                </a:solidFill>
                <a:highlight>
                  <a:srgbClr val="FBFBFB"/>
                </a:highlight>
              </a:rPr>
              <a:t>AWS Integration</a:t>
            </a:r>
            <a:endParaRPr sz="1700" b="1">
              <a:solidFill>
                <a:schemeClr val="dk1"/>
              </a:solidFill>
              <a:highlight>
                <a:srgbClr val="FBFBFB"/>
              </a:highlight>
            </a:endParaRPr>
          </a:p>
          <a:p>
            <a:pPr marL="457200" lvl="0" indent="0" algn="l" rtl="0">
              <a:lnSpc>
                <a:spcPct val="115000"/>
              </a:lnSpc>
              <a:spcBef>
                <a:spcPts val="90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highlight>
                <a:srgbClr val="FBFBFB"/>
              </a:highlight>
            </a:endParaRPr>
          </a:p>
          <a:p>
            <a:pPr marL="457200" lvl="0" indent="-285750" algn="l" rtl="0">
              <a:lnSpc>
                <a:spcPct val="115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900"/>
              <a:buChar char="●"/>
            </a:pPr>
            <a:r>
              <a:rPr lang="pt-BR" sz="900">
                <a:solidFill>
                  <a:schemeClr val="dk1"/>
                </a:solidFill>
                <a:highlight>
                  <a:srgbClr val="FBFBFB"/>
                </a:highlight>
              </a:rPr>
              <a:t>For batch data, we can schedule an airflow job to either insert on the Document Database (MongoDB) or put the data in parquet format inside an S3 bucket.</a:t>
            </a:r>
            <a:endParaRPr sz="900">
              <a:solidFill>
                <a:schemeClr val="dk1"/>
              </a:solidFill>
              <a:highlight>
                <a:srgbClr val="FBFBFB"/>
              </a:highlight>
            </a:endParaRPr>
          </a:p>
          <a:p>
            <a:pPr marL="457200" lvl="0" indent="-2857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Char char="●"/>
            </a:pPr>
            <a:r>
              <a:rPr lang="pt-BR" sz="900">
                <a:solidFill>
                  <a:schemeClr val="dk1"/>
                </a:solidFill>
                <a:highlight>
                  <a:srgbClr val="FBFBFB"/>
                </a:highlight>
              </a:rPr>
              <a:t>For streaming data, we will provide a pub-sub topic and a cloud function attached to it to produce messages for AWS Kinesis</a:t>
            </a:r>
            <a:endParaRPr sz="900">
              <a:solidFill>
                <a:schemeClr val="dk1"/>
              </a:solidFill>
              <a:highlight>
                <a:srgbClr val="FBFBFB"/>
              </a:highlight>
            </a:endParaRPr>
          </a:p>
        </p:txBody>
      </p:sp>
      <p:pic>
        <p:nvPicPr>
          <p:cNvPr id="69" name="Google Shape;69;p1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6608" y="824622"/>
            <a:ext cx="3461884" cy="4021499"/>
          </a:xfrm>
          <a:prstGeom prst="rect">
            <a:avLst/>
          </a:prstGeom>
          <a:noFill/>
          <a:ln>
            <a:noFill/>
          </a:ln>
        </p:spPr>
      </p:pic>
      <p:sp>
        <p:nvSpPr>
          <p:cNvPr id="70" name="Google Shape;70;p15"/>
          <p:cNvSpPr/>
          <p:nvPr/>
        </p:nvSpPr>
        <p:spPr>
          <a:xfrm>
            <a:off x="901700" y="2736850"/>
            <a:ext cx="762000" cy="2667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" name="Google Shape;71;p15"/>
          <p:cNvSpPr/>
          <p:nvPr/>
        </p:nvSpPr>
        <p:spPr>
          <a:xfrm>
            <a:off x="901700" y="3556000"/>
            <a:ext cx="762000" cy="2667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2" name="Google Shape;72;p15"/>
          <p:cNvSpPr txBox="1"/>
          <p:nvPr/>
        </p:nvSpPr>
        <p:spPr>
          <a:xfrm>
            <a:off x="901700" y="2874475"/>
            <a:ext cx="7620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>
                <a:solidFill>
                  <a:srgbClr val="FF0000"/>
                </a:solidFill>
              </a:rPr>
              <a:t>Batch</a:t>
            </a:r>
            <a:endParaRPr>
              <a:solidFill>
                <a:srgbClr val="FF0000"/>
              </a:solidFill>
            </a:endParaRPr>
          </a:p>
        </p:txBody>
      </p:sp>
      <p:sp>
        <p:nvSpPr>
          <p:cNvPr id="73" name="Google Shape;73;p15"/>
          <p:cNvSpPr txBox="1"/>
          <p:nvPr/>
        </p:nvSpPr>
        <p:spPr>
          <a:xfrm>
            <a:off x="749300" y="3746500"/>
            <a:ext cx="10287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>
                <a:solidFill>
                  <a:schemeClr val="accent1"/>
                </a:solidFill>
              </a:rPr>
              <a:t>Streaming</a:t>
            </a:r>
            <a:endParaRPr>
              <a:solidFill>
                <a:schemeClr val="accent1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6"/>
  <p:tag name="MIO_HDS" val="True"/>
  <p:tag name="MIO_SKIPVERSION" val="01.01.0001 00:00:00"/>
  <p:tag name="MIO_EKGUID" val="106612b7-7cda-4c66-a943-3c88b56a92d2"/>
  <p:tag name="MIO_UPDATE" val="True"/>
  <p:tag name="MIO_VERSION" val="05.09.2018 15:12:17"/>
  <p:tag name="MIO_DBID" val="8E7267AE-489F-4B02-8040-8A98451BF141"/>
  <p:tag name="MIO_LASTDOWNLOADED" val="06.09.2018 11:39:48"/>
  <p:tag name="MIO_OBJECTNAME" val="Master Bayer AG 16:9 pre final"/>
  <p:tag name="MIO_CDID" val="cd9a71c7-8ed9-41a1-8303-1a6d1985851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c24e77c-80ad-4625-a9af-9ac7a9158f6c"/>
  <p:tag name="MIO_EKGUID" val="a4523db7-ec30-4811-b318-114f0362b83c"/>
  <p:tag name="MIO_UPDATE" val="True"/>
  <p:tag name="MIO_VERSION" val="05.09.2018 15:17:32"/>
  <p:tag name="MIO_DBID" val="8E7267AE-489F-4B02-8040-8A98451BF141"/>
  <p:tag name="MIO_LASTDOWNLOADED" val="06.09.2018 15:13:08"/>
  <p:tag name="MIO_OBJECTNAME" val="Example of an organization chart (3)"/>
  <p:tag name="MIO_LASTEDITORNAME" val="empower enterpri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HOSyYtk0SMm_PzgJv9_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wHog7TTU6aHX6k8.p3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ecab373-b8be-4a5a-b809-ac3cb85561ac"/>
  <p:tag name="MIO_EKGUID" val="b44d2f5c-24c7-4a2b-8a2f-6c342c088606"/>
  <p:tag name="MIO_UPDATE" val="True"/>
  <p:tag name="MIO_VERSION" val="05.09.2018 15:22:19"/>
  <p:tag name="MIO_DBID" val="8E7267AE-489F-4B02-8040-8A98451BF141"/>
  <p:tag name="MIO_LASTDOWNLOADED" val="06.09.2018 16:06:27"/>
  <p:tag name="MIO_OBJECTNAME" val="Status report"/>
  <p:tag name="MIO_LASTEDITORNAME" val="empower enterpris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7cafeb1-f712-4ed7-a0a3-12e00dc339d8"/>
  <p:tag name="MIO_EKGUID" val="4db624f2-ba26-49fb-befa-b5f35043fb62"/>
  <p:tag name="MIO_UPDATE" val="True"/>
  <p:tag name="MIO_VERSION" val="05.09.2018 15:22:21"/>
  <p:tag name="MIO_DBID" val="8E7267AE-489F-4B02-8040-8A98451BF141"/>
  <p:tag name="MIO_LASTDOWNLOADED" val="06.09.2018 16:06:38"/>
  <p:tag name="MIO_OBJECTNAME" val="Project one pager - Action title"/>
  <p:tag name="MIO_LASTEDITORNAME" val="empower enterpri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PR_BAG_PPT-mast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pr_bg_chart-pool_16-9_2022-04-22" id="{3A2B4AE1-4CB4-1B42-8B8D-61DCCFE3ABC2}" vid="{B435DA15-1DDE-FF44-806B-61B11464A649}"/>
    </a:ext>
  </a:extLst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59fccb6-17e4-48ec-99bb-75ec73d96e90">
      <Terms xmlns="http://schemas.microsoft.com/office/infopath/2007/PartnerControls"/>
    </lcf76f155ced4ddcb4097134ff3c332f>
    <TaxCatchAll xmlns="1a4d292e-883c-434b-96e3-060cfff16c86" xsi:nil="true"/>
    <_dlc_ExpireDateSaved xmlns="http://schemas.microsoft.com/sharepoint/v3" xsi:nil="true"/>
    <_dlc_ExpireDate xmlns="http://schemas.microsoft.com/sharepoint/v3" xsi:nil="true"/>
    <_dlc_Exempt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FF70F97DB4FDD41907EF90156502D42" ma:contentTypeVersion="14" ma:contentTypeDescription="Crie um novo documento." ma:contentTypeScope="" ma:versionID="6c19fcade052e6c5c93efffd73ea0366">
  <xsd:schema xmlns:xsd="http://www.w3.org/2001/XMLSchema" xmlns:xs="http://www.w3.org/2001/XMLSchema" xmlns:p="http://schemas.microsoft.com/office/2006/metadata/properties" xmlns:ns1="http://schemas.microsoft.com/sharepoint/v3" xmlns:ns2="1a4d292e-883c-434b-96e3-060cfff16c86" xmlns:ns3="459fccb6-17e4-48ec-99bb-75ec73d96e90" xmlns:ns4="efb01187-b959-4cf8-9778-d26300174797" targetNamespace="http://schemas.microsoft.com/office/2006/metadata/properties" ma:root="true" ma:fieldsID="f8149c461d6dee6496af59cff0ba93eb" ns1:_="" ns2:_="" ns3:_="" ns4:_="">
    <xsd:import namespace="http://schemas.microsoft.com/sharepoint/v3"/>
    <xsd:import namespace="1a4d292e-883c-434b-96e3-060cfff16c86"/>
    <xsd:import namespace="459fccb6-17e4-48ec-99bb-75ec73d96e90"/>
    <xsd:import namespace="efb01187-b959-4cf8-9778-d26300174797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1:_dlc_Exempt" minOccurs="0"/>
                <xsd:element ref="ns1:_dlc_ExpireDateSaved" minOccurs="0"/>
                <xsd:element ref="ns1:_dlc_ExpireDate" minOccurs="0"/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lcf76f155ced4ddcb4097134ff3c332f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4:SharedWithUsers" minOccurs="0"/>
                <xsd:element ref="ns4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0" nillable="true" ma:displayName="Isentar de Política" ma:hidden="true" ma:internalName="_dlc_Exempt" ma:readOnly="false">
      <xsd:simpleType>
        <xsd:restriction base="dms:Unknown"/>
      </xsd:simpleType>
    </xsd:element>
    <xsd:element name="_dlc_ExpireDateSaved" ma:index="11" nillable="true" ma:displayName="Data de Validade Original" ma:hidden="true" ma:internalName="_dlc_ExpireDateSaved" ma:readOnly="false">
      <xsd:simpleType>
        <xsd:restriction base="dms:DateTime"/>
      </xsd:simpleType>
    </xsd:element>
    <xsd:element name="_dlc_ExpireDate" ma:index="12" nillable="true" ma:displayName="Data de Validade" ma:hidden="true" ma:internalName="_dlc_Expire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4d292e-883c-434b-96e3-060cfff16c86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f23b4fda-1e26-43b4-9db5-c9cfd0a49949}" ma:internalName="TaxCatchAll" ma:showField="CatchAllData" ma:web="efb01187-b959-4cf8-9778-d2630017479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f23b4fda-1e26-43b4-9db5-c9cfd0a49949}" ma:internalName="TaxCatchAllLabel" ma:readOnly="true" ma:showField="CatchAllDataLabel" ma:web="efb01187-b959-4cf8-9778-d2630017479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9fccb6-17e4-48ec-99bb-75ec73d96e9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Marcações de imagem" ma:readOnly="false" ma:fieldId="{5cf76f15-5ced-4ddc-b409-7134ff3c332f}" ma:taxonomyMulti="true" ma:sspId="7bc43322-b630-4bac-8b27-31def233d1d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fb01187-b959-4cf8-9778-d26300174797" elementFormDefault="qualified">
    <xsd:import namespace="http://schemas.microsoft.com/office/2006/documentManagement/types"/>
    <xsd:import namespace="http://schemas.microsoft.com/office/infopath/2007/PartnerControls"/>
    <xsd:element name="SharedWithUsers" ma:index="21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haredContentType xmlns="Microsoft.SharePoint.Taxonomy.ContentTypeSync" SourceId="7bc43322-b630-4bac-8b27-31def233d1d0" ContentTypeId="0x0101" PreviousValue="false"/>
</file>

<file path=customXml/itemProps1.xml><?xml version="1.0" encoding="utf-8"?>
<ds:datastoreItem xmlns:ds="http://schemas.openxmlformats.org/officeDocument/2006/customXml" ds:itemID="{32419795-5ACD-43D6-8FCF-BA649EE8C5DE}">
  <ds:schemaRefs>
    <ds:schemaRef ds:uri="1a4d292e-883c-434b-96e3-060cfff16c86"/>
    <ds:schemaRef ds:uri="459fccb6-17e4-48ec-99bb-75ec73d96e90"/>
    <ds:schemaRef ds:uri="efb01187-b959-4cf8-9778-d2630017479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9846835-CFAA-4B86-A75E-10E4D83E14D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C6A2261-BF15-4DB5-B93A-BCB670BBFC9C}">
  <ds:schemaRefs>
    <ds:schemaRef ds:uri="1a4d292e-883c-434b-96e3-060cfff16c86"/>
    <ds:schemaRef ds:uri="459fccb6-17e4-48ec-99bb-75ec73d96e90"/>
    <ds:schemaRef ds:uri="efb01187-b959-4cf8-9778-d2630017479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FFE27AA5-243B-45B7-809F-CDCD3EFEB8FD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On-screen Show (16:9)</PresentationFormat>
  <Slides>6</Slides>
  <Notes>6</Notes>
  <HiddenSlides>3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6</vt:i4>
      </vt:variant>
    </vt:vector>
  </HeadingPairs>
  <TitlesOfParts>
    <vt:vector size="8" baseType="lpstr">
      <vt:lpstr>Simple Light</vt:lpstr>
      <vt:lpstr>PR_BAG_PPT-master_16-9</vt:lpstr>
      <vt:lpstr>Main reasons why we should follow with GCP as cloud provider:</vt:lpstr>
      <vt:lpstr>Step by Step</vt:lpstr>
      <vt:lpstr>Delivery layer and Integrations</vt:lpstr>
      <vt:lpstr>Why we choose GCP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y we choose GCP</dc:title>
  <cp:revision>4</cp:revision>
  <dcterms:modified xsi:type="dcterms:W3CDTF">2023-07-26T12:15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FF70F97DB4FDD41907EF90156502D42</vt:lpwstr>
  </property>
  <property fmtid="{D5CDD505-2E9C-101B-9397-08002B2CF9AE}" pid="3" name="MSIP_Label_2c76c141-ac86-40e5-abf2-c6f60e474cee_Enabled">
    <vt:lpwstr>true</vt:lpwstr>
  </property>
  <property fmtid="{D5CDD505-2E9C-101B-9397-08002B2CF9AE}" pid="4" name="MSIP_Label_2c76c141-ac86-40e5-abf2-c6f60e474cee_SetDate">
    <vt:lpwstr>2023-07-20T17:02:09Z</vt:lpwstr>
  </property>
  <property fmtid="{D5CDD505-2E9C-101B-9397-08002B2CF9AE}" pid="5" name="MSIP_Label_2c76c141-ac86-40e5-abf2-c6f60e474cee_Method">
    <vt:lpwstr>Standard</vt:lpwstr>
  </property>
  <property fmtid="{D5CDD505-2E9C-101B-9397-08002B2CF9AE}" pid="6" name="MSIP_Label_2c76c141-ac86-40e5-abf2-c6f60e474cee_Name">
    <vt:lpwstr>2c76c141-ac86-40e5-abf2-c6f60e474cee</vt:lpwstr>
  </property>
  <property fmtid="{D5CDD505-2E9C-101B-9397-08002B2CF9AE}" pid="7" name="MSIP_Label_2c76c141-ac86-40e5-abf2-c6f60e474cee_SiteId">
    <vt:lpwstr>fcb2b37b-5da0-466b-9b83-0014b67a7c78</vt:lpwstr>
  </property>
  <property fmtid="{D5CDD505-2E9C-101B-9397-08002B2CF9AE}" pid="8" name="MSIP_Label_2c76c141-ac86-40e5-abf2-c6f60e474cee_ActionId">
    <vt:lpwstr>a1cc5f3b-ee31-45ac-a042-3377e97686e2</vt:lpwstr>
  </property>
  <property fmtid="{D5CDD505-2E9C-101B-9397-08002B2CF9AE}" pid="9" name="MSIP_Label_2c76c141-ac86-40e5-abf2-c6f60e474cee_ContentBits">
    <vt:lpwstr>2</vt:lpwstr>
  </property>
  <property fmtid="{D5CDD505-2E9C-101B-9397-08002B2CF9AE}" pid="10" name="ClassificationContentMarkingFooterLocations">
    <vt:lpwstr>Simple Light:3</vt:lpwstr>
  </property>
  <property fmtid="{D5CDD505-2E9C-101B-9397-08002B2CF9AE}" pid="11" name="ClassificationContentMarkingFooterText">
    <vt:lpwstr>RESTRICTED</vt:lpwstr>
  </property>
  <property fmtid="{D5CDD505-2E9C-101B-9397-08002B2CF9AE}" pid="12" name="MediaServiceImageTags">
    <vt:lpwstr/>
  </property>
</Properties>
</file>